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4.xml" ContentType="application/vnd.openxmlformats-officedocument.presentationml.tags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5.xml" ContentType="application/vnd.openxmlformats-officedocument.presentationml.tags+xml"/>
  <Override PartName="/ppt/notesSlides/notesSlide7.xml" ContentType="application/vnd.openxmlformats-officedocument.presentationml.notesSlide+xml"/>
  <Override PartName="/ppt/tags/tag6.xml" ContentType="application/vnd.openxmlformats-officedocument.presentationml.tags+xml"/>
  <Override PartName="/ppt/notesSlides/notesSlide8.xml" ContentType="application/vnd.openxmlformats-officedocument.presentationml.notesSlide+xml"/>
  <Override PartName="/ppt/tags/tag7.xml" ContentType="application/vnd.openxmlformats-officedocument.presentationml.tags+xml"/>
  <Override PartName="/ppt/notesSlides/notesSlide9.xml" ContentType="application/vnd.openxmlformats-officedocument.presentationml.notesSlide+xml"/>
  <Override PartName="/ppt/tags/tag8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7" r:id="rId4"/>
  </p:sldMasterIdLst>
  <p:notesMasterIdLst>
    <p:notesMasterId r:id="rId35"/>
  </p:notesMasterIdLst>
  <p:handoutMasterIdLst>
    <p:handoutMasterId r:id="rId36"/>
  </p:handoutMasterIdLst>
  <p:sldIdLst>
    <p:sldId id="2147483616" r:id="rId5"/>
    <p:sldId id="2147471707" r:id="rId6"/>
    <p:sldId id="2147483639" r:id="rId7"/>
    <p:sldId id="2147476796" r:id="rId8"/>
    <p:sldId id="2147483243" r:id="rId9"/>
    <p:sldId id="258" r:id="rId10"/>
    <p:sldId id="2147483637" r:id="rId11"/>
    <p:sldId id="2147476569" r:id="rId12"/>
    <p:sldId id="256" r:id="rId13"/>
    <p:sldId id="2147476830" r:id="rId14"/>
    <p:sldId id="2147481180" r:id="rId15"/>
    <p:sldId id="276" r:id="rId16"/>
    <p:sldId id="2147483638" r:id="rId17"/>
    <p:sldId id="2147483636" r:id="rId18"/>
    <p:sldId id="257" r:id="rId19"/>
    <p:sldId id="2147483259" r:id="rId20"/>
    <p:sldId id="4666" r:id="rId21"/>
    <p:sldId id="2147476826" r:id="rId22"/>
    <p:sldId id="4632" r:id="rId23"/>
    <p:sldId id="315" r:id="rId24"/>
    <p:sldId id="316" r:id="rId25"/>
    <p:sldId id="2147483234" r:id="rId26"/>
    <p:sldId id="2147483641" r:id="rId27"/>
    <p:sldId id="2147483598" r:id="rId28"/>
    <p:sldId id="2147483577" r:id="rId29"/>
    <p:sldId id="2147483599" r:id="rId30"/>
    <p:sldId id="2147483583" r:id="rId31"/>
    <p:sldId id="2147483600" r:id="rId32"/>
    <p:sldId id="2147483642" r:id="rId33"/>
    <p:sldId id="8015" r:id="rId34"/>
  </p:sldIdLst>
  <p:sldSz cx="12192000" cy="6858000"/>
  <p:notesSz cx="6724650" cy="9774238"/>
  <p:custDataLst>
    <p:tags r:id="rId37"/>
  </p:custDataLst>
  <p:defaultTextStyle>
    <a:defPPr>
      <a:defRPr lang="nb-NO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2D9932E-5DFA-9159-7066-497A5E21DE03}" name="Jan Erik Innvær" initials="JI" userId="S::jan.erik.innvar@ks.no::dab9100d-6ecd-4f34-b4b4-059c9e5ab7f2" providerId="AD"/>
  <p188:author id="{B68C213C-EB76-A22D-9874-BF06CC75A02D}" name="Jan Erik Innvær" initials="JEI" userId="S::Jan.Erik.Innvar@ks.no::dab9100d-6ecd-4f34-b4b4-059c9e5ab7f2" providerId="AD"/>
  <p188:author id="{6A6A896B-6F2E-B242-1EAF-76D90A32815B}" name="Ida Paulsen Slettevoll" initials="IPS" userId="S::ida.paulsen.slettevoll@ks.no::9f637737-ee79-45fb-bd56-dc2546671cb6" providerId="AD"/>
  <p188:author id="{95A6A773-F3E3-DA6A-1FE5-F7FD31C19548}" name="Liv Merete Wiker" initials="LW" userId="S::liv.merete.wiker@ks.no::9f3c1515-de77-42be-9989-69ec6458b89b" providerId="AD"/>
  <p188:author id="{2F7449A6-8493-5E70-B643-F74741D2F23A}" name="Anette Hansen" initials="AH" userId="S::anette.hansen@ks.no::5e9ade94-a188-403c-b03f-1fd7e0d705c4" providerId="AD"/>
  <p188:author id="{0C2E26AD-4099-F3A6-9C28-06D0093A03FD}" name="Hege K. Fosser Pedersen" initials="HP" userId="S::hege.k.fosser.pedersen@ks.no::7e061ac9-d9c7-447f-92a2-e31cb81f3671" providerId="AD"/>
  <p188:author id="{A12111DF-391A-E3F3-1089-AE987676114C}" name="Nina Farahi" initials="NF" userId="S::nina.farahi@ksdigital.no::e3a616c5-9b9a-4e45-b981-1c7f92c1d036" providerId="AD"/>
  <p188:author id="{11E097E1-4797-AC1D-820B-35A18213EC99}" name="Ingrid Ulberg Sommer" initials="IS" userId="S::ingrid.ulberg.sommer@ks.no::977d0198-69bc-4c21-9f50-5f979cc83f4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6699"/>
    <a:srgbClr val="0099CC"/>
    <a:srgbClr val="23538D"/>
    <a:srgbClr val="001046"/>
    <a:srgbClr val="F7FB43"/>
    <a:srgbClr val="F89745"/>
    <a:srgbClr val="E3ECED"/>
    <a:srgbClr val="008CD3"/>
    <a:srgbClr val="E1ECED"/>
    <a:srgbClr val="001A5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2" d="100"/>
          <a:sy n="82" d="100"/>
        </p:scale>
        <p:origin x="691" y="28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viewProps" Target="viewProps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microsoft.com/office/2018/10/relationships/authors" Target="author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sites.ey.com/sites/KS-EffektivskaleringavKIihelseogomsorg/Shared%20Documents/Generelt/Fase%202/Sp&#248;rreunders&#248;kelse/Bruk%20av%20kunstig%20intelligens%20i%20kommunale%20helse-%20og%20omsorgstjenester_June%2019,%20FERDIG.xlsm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Økt kvalite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3</c:f>
              <c:strCache>
                <c:ptCount val="2"/>
                <c:pt idx="0">
                  <c:v>Nasjonale e-helseløsninger</c:v>
                </c:pt>
                <c:pt idx="1">
                  <c:v>Velferdsteknologi</c:v>
                </c:pt>
              </c:strCache>
            </c:strRef>
          </c:cat>
          <c:val>
            <c:numRef>
              <c:f>'Ark1'!$B$2:$B$3</c:f>
              <c:numCache>
                <c:formatCode>General</c:formatCode>
                <c:ptCount val="2"/>
                <c:pt idx="0">
                  <c:v>3.6</c:v>
                </c:pt>
                <c:pt idx="1">
                  <c:v>3.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EDB-4CD3-81BA-FE8624499E46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Redusert tidsbruk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3</c:f>
              <c:strCache>
                <c:ptCount val="2"/>
                <c:pt idx="0">
                  <c:v>Nasjonale e-helseløsninger</c:v>
                </c:pt>
                <c:pt idx="1">
                  <c:v>Velferdsteknologi</c:v>
                </c:pt>
              </c:strCache>
            </c:strRef>
          </c:cat>
          <c:val>
            <c:numRef>
              <c:f>'Ark1'!$C$2:$C$3</c:f>
              <c:numCache>
                <c:formatCode>General</c:formatCode>
                <c:ptCount val="2"/>
                <c:pt idx="0">
                  <c:v>3.07</c:v>
                </c:pt>
                <c:pt idx="1">
                  <c:v>3.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EDB-4CD3-81BA-FE8624499E46}"/>
            </c:ext>
          </c:extLst>
        </c:ser>
        <c:ser>
          <c:idx val="2"/>
          <c:order val="2"/>
          <c:tx>
            <c:strRef>
              <c:f>'Ark1'!$D$1</c:f>
              <c:strCache>
                <c:ptCount val="1"/>
                <c:pt idx="0">
                  <c:v>Reduserte kostnader</c:v>
                </c:pt>
              </c:strCache>
            </c:strRef>
          </c:tx>
          <c:spPr>
            <a:solidFill>
              <a:schemeClr val="bg2">
                <a:lumMod val="9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3</c:f>
              <c:strCache>
                <c:ptCount val="2"/>
                <c:pt idx="0">
                  <c:v>Nasjonale e-helseløsninger</c:v>
                </c:pt>
                <c:pt idx="1">
                  <c:v>Velferdsteknologi</c:v>
                </c:pt>
              </c:strCache>
            </c:strRef>
          </c:cat>
          <c:val>
            <c:numRef>
              <c:f>'Ark1'!$D$2:$D$3</c:f>
              <c:numCache>
                <c:formatCode>General</c:formatCode>
                <c:ptCount val="2"/>
                <c:pt idx="0">
                  <c:v>2.4500000000000002</c:v>
                </c:pt>
                <c:pt idx="1">
                  <c:v>2.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EDB-4CD3-81BA-FE8624499E4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1505950623"/>
        <c:axId val="1621685039"/>
      </c:barChart>
      <c:catAx>
        <c:axId val="150595062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1621685039"/>
        <c:crosses val="autoZero"/>
        <c:auto val="1"/>
        <c:lblAlgn val="ctr"/>
        <c:lblOffset val="100"/>
        <c:noMultiLvlLbl val="0"/>
      </c:catAx>
      <c:valAx>
        <c:axId val="162168503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150595062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100"/>
      </a:pPr>
      <a:endParaRPr lang="nb-NO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At det er vanskelig/umulig å rekruttere personell, og tjenesten må tilpasse seg et lavere nivå på bemanning</c:v>
                </c:pt>
                <c:pt idx="1">
                  <c:v>At vi styrker vår kompetanse på omstilling og gevinstrealisering</c:v>
                </c:pt>
                <c:pt idx="2">
                  <c:v>At vi blir tildelt ressurser som er øremerket til omstilling og gevinstrealisering</c:v>
                </c:pt>
                <c:pt idx="3">
                  <c:v>At det stilles krav om reduserte kostnader fra kommuneledelsen</c:v>
                </c:pt>
                <c:pt idx="4">
                  <c:v>Annet</c:v>
                </c:pt>
              </c:strCache>
            </c:strRef>
          </c:cat>
          <c:val>
            <c:numRef>
              <c:f>'Ark1'!$B$2:$B$6</c:f>
              <c:numCache>
                <c:formatCode>0%</c:formatCode>
                <c:ptCount val="5"/>
                <c:pt idx="0">
                  <c:v>0.28000000000000003</c:v>
                </c:pt>
                <c:pt idx="1">
                  <c:v>0.27</c:v>
                </c:pt>
                <c:pt idx="2">
                  <c:v>0.26</c:v>
                </c:pt>
                <c:pt idx="3">
                  <c:v>0.12</c:v>
                </c:pt>
                <c:pt idx="4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E71-4EE5-B4CC-2F1089376A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680836512"/>
        <c:axId val="680832672"/>
      </c:barChart>
      <c:catAx>
        <c:axId val="68083651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680832672"/>
        <c:crosses val="autoZero"/>
        <c:auto val="1"/>
        <c:lblAlgn val="ctr"/>
        <c:lblOffset val="100"/>
        <c:noMultiLvlLbl val="0"/>
      </c:catAx>
      <c:valAx>
        <c:axId val="680832672"/>
        <c:scaling>
          <c:orientation val="minMax"/>
        </c:scaling>
        <c:delete val="0"/>
        <c:axPos val="t"/>
        <c:numFmt formatCode="0%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6808365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/>
      </a:pPr>
      <a:endParaRPr lang="nb-NO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Bruk av kunstig intelligens i kommunale helse- og omsorgstjenester_June 19, FERDIG.xlsm]Fordeling av kommuner!PivotTable20</c:name>
    <c:fmtId val="-1"/>
  </c:pivotSource>
  <c:chart>
    <c:autoTitleDeleted val="1"/>
    <c:pivotFmts>
      <c:pivotFmt>
        <c:idx val="0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en-US" sz="9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nb-NO"/>
            </a:p>
          </c:txPr>
          <c:dLblPos val="ctr"/>
          <c:showLegendKey val="0"/>
          <c:showVal val="0"/>
          <c:showCatName val="1"/>
          <c:showSerName val="0"/>
          <c:showPercent val="1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rgbClr val="1E9CD7"/>
          </a:solidFill>
          <a:ln w="19050">
            <a:solidFill>
              <a:schemeClr val="lt1"/>
            </a:solidFill>
          </a:ln>
          <a:effectLst/>
        </c:spPr>
      </c:pivotFmt>
      <c:pivotFmt>
        <c:idx val="2"/>
        <c:spPr>
          <a:solidFill>
            <a:srgbClr val="001A58"/>
          </a:solidFill>
          <a:ln w="19050">
            <a:solidFill>
              <a:schemeClr val="lt1"/>
            </a:solidFill>
          </a:ln>
          <a:effectLst/>
        </c:spPr>
      </c:pivotFmt>
      <c:pivotFmt>
        <c:idx val="3"/>
        <c:spPr>
          <a:solidFill>
            <a:srgbClr val="909090"/>
          </a:solidFill>
          <a:ln w="19050">
            <a:solidFill>
              <a:schemeClr val="lt1"/>
            </a:solidFill>
          </a:ln>
          <a:effectLst/>
        </c:spPr>
        <c:dLbl>
          <c:idx val="0"/>
          <c:layout>
            <c:manualLayout>
              <c:x val="6.3290379468774652E-2"/>
              <c:y val="0.17665137652186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en-US" sz="9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nb-NO"/>
            </a:p>
          </c:txPr>
          <c:dLblPos val="bestFit"/>
          <c:showLegendKey val="0"/>
          <c:showVal val="0"/>
          <c:showCatName val="1"/>
          <c:showSerName val="0"/>
          <c:showPercent val="1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en-US" sz="9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nb-NO"/>
            </a:p>
          </c:txPr>
          <c:dLblPos val="ctr"/>
          <c:showLegendKey val="0"/>
          <c:showVal val="0"/>
          <c:showCatName val="1"/>
          <c:showSerName val="0"/>
          <c:showPercent val="1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rgbClr val="1E9CD7"/>
          </a:solidFill>
          <a:ln w="19050">
            <a:solidFill>
              <a:schemeClr val="lt1"/>
            </a:solidFill>
          </a:ln>
          <a:effectLst/>
        </c:spPr>
      </c:pivotFmt>
      <c:pivotFmt>
        <c:idx val="6"/>
        <c:spPr>
          <a:solidFill>
            <a:srgbClr val="001A58"/>
          </a:solidFill>
          <a:ln w="19050">
            <a:solidFill>
              <a:schemeClr val="lt1"/>
            </a:solidFill>
          </a:ln>
          <a:effectLst/>
        </c:spPr>
      </c:pivotFmt>
      <c:pivotFmt>
        <c:idx val="7"/>
        <c:spPr>
          <a:solidFill>
            <a:srgbClr val="909090"/>
          </a:solidFill>
          <a:ln w="19050">
            <a:solidFill>
              <a:schemeClr val="lt1"/>
            </a:solidFill>
          </a:ln>
          <a:effectLst/>
        </c:spPr>
        <c:dLbl>
          <c:idx val="0"/>
          <c:layout>
            <c:manualLayout>
              <c:x val="6.3290379468774652E-2"/>
              <c:y val="0.17665137652186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en-US" sz="9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nb-NO"/>
            </a:p>
          </c:txPr>
          <c:dLblPos val="bestFit"/>
          <c:showLegendKey val="0"/>
          <c:showVal val="0"/>
          <c:showCatName val="1"/>
          <c:showSerName val="0"/>
          <c:showPercent val="1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en-US" sz="9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nb-NO"/>
            </a:p>
          </c:txPr>
          <c:dLblPos val="ctr"/>
          <c:showLegendKey val="0"/>
          <c:showVal val="0"/>
          <c:showCatName val="1"/>
          <c:showSerName val="0"/>
          <c:showPercent val="1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rgbClr val="1E9CD7"/>
          </a:solidFill>
          <a:ln w="19050">
            <a:solidFill>
              <a:schemeClr val="lt1"/>
            </a:solidFill>
          </a:ln>
          <a:effectLst/>
        </c:spPr>
      </c:pivotFmt>
      <c:pivotFmt>
        <c:idx val="10"/>
        <c:spPr>
          <a:solidFill>
            <a:srgbClr val="001A58"/>
          </a:solidFill>
          <a:ln w="19050">
            <a:solidFill>
              <a:schemeClr val="lt1"/>
            </a:solidFill>
          </a:ln>
          <a:effectLst/>
        </c:spPr>
      </c:pivotFmt>
      <c:pivotFmt>
        <c:idx val="11"/>
        <c:spPr>
          <a:solidFill>
            <a:srgbClr val="909090"/>
          </a:solidFill>
          <a:ln w="19050">
            <a:solidFill>
              <a:schemeClr val="lt1"/>
            </a:solidFill>
          </a:ln>
          <a:effectLst/>
        </c:spPr>
        <c:dLbl>
          <c:idx val="0"/>
          <c:layout>
            <c:manualLayout>
              <c:x val="6.3290379468774652E-2"/>
              <c:y val="0.17665137652186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en-US" sz="9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nb-NO"/>
            </a:p>
          </c:txPr>
          <c:dLblPos val="bestFit"/>
          <c:showLegendKey val="0"/>
          <c:showVal val="0"/>
          <c:showCatName val="1"/>
          <c:showSerName val="0"/>
          <c:showPercent val="1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pieChart>
        <c:varyColors val="1"/>
        <c:ser>
          <c:idx val="0"/>
          <c:order val="0"/>
          <c:tx>
            <c:strRef>
              <c:f>'Fordeling av kommuner'!$M$36</c:f>
              <c:strCache>
                <c:ptCount val="1"/>
                <c:pt idx="0">
                  <c:v>Total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5F94DB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969-4479-95EC-F085E120CACB}"/>
              </c:ext>
            </c:extLst>
          </c:dPt>
          <c:dPt>
            <c:idx val="1"/>
            <c:bubble3D val="0"/>
            <c:spPr>
              <a:solidFill>
                <a:srgbClr val="001A58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969-4479-95EC-F085E120CACB}"/>
              </c:ext>
            </c:extLst>
          </c:dPt>
          <c:dPt>
            <c:idx val="2"/>
            <c:bubble3D val="0"/>
            <c:spPr>
              <a:solidFill>
                <a:schemeClr val="bg1">
                  <a:lumMod val="5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969-4479-95EC-F085E120CACB}"/>
              </c:ext>
            </c:extLst>
          </c:dPt>
          <c:dLbls>
            <c:dLbl>
              <c:idx val="2"/>
              <c:layout>
                <c:manualLayout>
                  <c:x val="5.2572262872285662E-2"/>
                  <c:y val="0.15172925814179769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969-4479-95EC-F085E120CAC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2000" b="1" i="0" u="none" strike="noStrike" kern="1200" baseline="0">
                    <a:solidFill>
                      <a:schemeClr val="bg1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nb-NO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Fordeling av kommuner'!$L$37:$L$40</c:f>
              <c:strCache>
                <c:ptCount val="3"/>
                <c:pt idx="0">
                  <c:v>Ja</c:v>
                </c:pt>
                <c:pt idx="1">
                  <c:v>Nei</c:v>
                </c:pt>
                <c:pt idx="2">
                  <c:v>Vet ikke</c:v>
                </c:pt>
              </c:strCache>
            </c:strRef>
          </c:cat>
          <c:val>
            <c:numRef>
              <c:f>'Fordeling av kommuner'!$M$37:$M$40</c:f>
              <c:numCache>
                <c:formatCode>General</c:formatCode>
                <c:ptCount val="3"/>
                <c:pt idx="0">
                  <c:v>95</c:v>
                </c:pt>
                <c:pt idx="1">
                  <c:v>59</c:v>
                </c:pt>
                <c:pt idx="2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969-4479-95EC-F085E120CAC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lang="en-US" sz="900" b="0" i="0" u="none" strike="noStrike" kern="1200" baseline="0">
          <a:solidFill>
            <a:schemeClr val="tx1"/>
          </a:solidFill>
          <a:latin typeface="+mn-lt"/>
          <a:ea typeface="+mn-ea"/>
          <a:cs typeface="+mn-cs"/>
        </a:defRPr>
      </a:pPr>
      <a:endParaRPr lang="nb-NO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Data val="1"/>
        <c14:dropZoneSeries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EAF7247-9109-4C99-821B-976E76E20D71}" type="doc">
      <dgm:prSet loTypeId="urn:microsoft.com/office/officeart/2005/8/layout/default" loCatId="list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A2F80AF-57C3-43EF-8B39-607E1D430898}">
      <dgm:prSet custT="1"/>
      <dgm:spPr/>
      <dgm:t>
        <a:bodyPr/>
        <a:lstStyle/>
        <a:p>
          <a:pPr rtl="0"/>
          <a:r>
            <a:rPr lang="nb-NO" sz="2400" dirty="0">
              <a:latin typeface="+mn-lt"/>
            </a:rPr>
            <a:t>Felles rammer og anbefalinger</a:t>
          </a:r>
          <a:endParaRPr lang="en-US" sz="1600" dirty="0"/>
        </a:p>
      </dgm:t>
    </dgm:pt>
    <dgm:pt modelId="{FFC88194-AA9A-43BF-A816-ED271ED164B7}" type="parTrans" cxnId="{600536AC-1F79-420D-932E-D6F21FE5389A}">
      <dgm:prSet/>
      <dgm:spPr/>
      <dgm:t>
        <a:bodyPr/>
        <a:lstStyle/>
        <a:p>
          <a:endParaRPr lang="en-US"/>
        </a:p>
      </dgm:t>
    </dgm:pt>
    <dgm:pt modelId="{4DE5C158-7D93-477F-85F1-6BBB1AB507A2}" type="sibTrans" cxnId="{600536AC-1F79-420D-932E-D6F21FE5389A}">
      <dgm:prSet/>
      <dgm:spPr/>
      <dgm:t>
        <a:bodyPr/>
        <a:lstStyle/>
        <a:p>
          <a:endParaRPr lang="en-US"/>
        </a:p>
      </dgm:t>
    </dgm:pt>
    <dgm:pt modelId="{FDBC8E7A-9B94-4841-8DC2-18E764488684}">
      <dgm:prSet custT="1"/>
      <dgm:spPr/>
      <dgm:t>
        <a:bodyPr/>
        <a:lstStyle/>
        <a:p>
          <a:pPr rtl="0"/>
          <a:r>
            <a:rPr lang="nb-NO" sz="2400" dirty="0">
              <a:latin typeface="Calibri"/>
            </a:rPr>
            <a:t>Standardisere</a:t>
          </a:r>
          <a:r>
            <a:rPr lang="nb-NO" sz="1600" dirty="0"/>
            <a:t> arbeidsprosesser, dokumentmaler og prosedyrer</a:t>
          </a:r>
          <a:endParaRPr lang="en-US" sz="1600" dirty="0"/>
        </a:p>
      </dgm:t>
    </dgm:pt>
    <dgm:pt modelId="{FCB309C9-38A1-4B4E-966C-68488C87EE16}" type="parTrans" cxnId="{591E3112-3C18-446E-A85E-9D31D787A28E}">
      <dgm:prSet/>
      <dgm:spPr/>
      <dgm:t>
        <a:bodyPr/>
        <a:lstStyle/>
        <a:p>
          <a:endParaRPr lang="en-US"/>
        </a:p>
      </dgm:t>
    </dgm:pt>
    <dgm:pt modelId="{150E793D-1E72-430C-91BF-E43F8BC5BC5A}" type="sibTrans" cxnId="{591E3112-3C18-446E-A85E-9D31D787A28E}">
      <dgm:prSet/>
      <dgm:spPr/>
      <dgm:t>
        <a:bodyPr/>
        <a:lstStyle/>
        <a:p>
          <a:endParaRPr lang="en-US"/>
        </a:p>
      </dgm:t>
    </dgm:pt>
    <dgm:pt modelId="{5A49DC60-AA72-457C-BFD6-B80EA52ED90A}">
      <dgm:prSet custT="1"/>
      <dgm:spPr/>
      <dgm:t>
        <a:bodyPr/>
        <a:lstStyle/>
        <a:p>
          <a:r>
            <a:rPr lang="nb-NO" sz="2400" b="0" dirty="0"/>
            <a:t>Felles innføringsløp</a:t>
          </a:r>
          <a:endParaRPr lang="en-US" sz="1600" dirty="0"/>
        </a:p>
      </dgm:t>
    </dgm:pt>
    <dgm:pt modelId="{57E9402C-0B42-4EBC-B793-86B8EFDD2EAE}" type="parTrans" cxnId="{3B71A122-A638-4B81-8FB9-58C92F5EAFD7}">
      <dgm:prSet/>
      <dgm:spPr/>
      <dgm:t>
        <a:bodyPr/>
        <a:lstStyle/>
        <a:p>
          <a:endParaRPr lang="en-US"/>
        </a:p>
      </dgm:t>
    </dgm:pt>
    <dgm:pt modelId="{AB6DDCED-C417-4FDA-BEA6-A6EDF7B9F84E}" type="sibTrans" cxnId="{3B71A122-A638-4B81-8FB9-58C92F5EAFD7}">
      <dgm:prSet/>
      <dgm:spPr/>
      <dgm:t>
        <a:bodyPr/>
        <a:lstStyle/>
        <a:p>
          <a:endParaRPr lang="en-US"/>
        </a:p>
      </dgm:t>
    </dgm:pt>
    <dgm:pt modelId="{557293DC-6FAE-489D-B4CB-3766FF8626F6}">
      <dgm:prSet custT="1"/>
      <dgm:spPr/>
      <dgm:t>
        <a:bodyPr/>
        <a:lstStyle/>
        <a:p>
          <a:pPr rtl="0"/>
          <a:r>
            <a:rPr lang="nb-NO" sz="2400" dirty="0"/>
            <a:t>Modell for </a:t>
          </a:r>
          <a:r>
            <a:rPr lang="nb-NO" sz="2400" b="0" dirty="0"/>
            <a:t>gevinst-realisering</a:t>
          </a:r>
          <a:r>
            <a:rPr lang="nb-NO" sz="1600" b="0" dirty="0"/>
            <a:t> </a:t>
          </a:r>
          <a:endParaRPr lang="en-US" sz="1600" b="0" dirty="0"/>
        </a:p>
      </dgm:t>
    </dgm:pt>
    <dgm:pt modelId="{80EEADCF-CB55-49EC-833F-8A959FCDEFE1}" type="parTrans" cxnId="{8D7A6EA9-A4C0-442A-B03F-8514E1E9E610}">
      <dgm:prSet/>
      <dgm:spPr/>
      <dgm:t>
        <a:bodyPr/>
        <a:lstStyle/>
        <a:p>
          <a:endParaRPr lang="en-US"/>
        </a:p>
      </dgm:t>
    </dgm:pt>
    <dgm:pt modelId="{55A0884B-B7EB-4761-976B-86F22808AE30}" type="sibTrans" cxnId="{8D7A6EA9-A4C0-442A-B03F-8514E1E9E610}">
      <dgm:prSet/>
      <dgm:spPr/>
      <dgm:t>
        <a:bodyPr/>
        <a:lstStyle/>
        <a:p>
          <a:endParaRPr lang="en-US"/>
        </a:p>
      </dgm:t>
    </dgm:pt>
    <dgm:pt modelId="{067C9672-87CF-4FAC-B30F-4AB51FF70DEE}">
      <dgm:prSet custT="1"/>
      <dgm:spPr/>
      <dgm:t>
        <a:bodyPr/>
        <a:lstStyle/>
        <a:p>
          <a:pPr rtl="0"/>
          <a:r>
            <a:rPr lang="nb-NO" sz="2400" dirty="0"/>
            <a:t>Selvdeklarerings-løsning</a:t>
          </a:r>
          <a:endParaRPr lang="en-US" sz="1600" dirty="0"/>
        </a:p>
      </dgm:t>
    </dgm:pt>
    <dgm:pt modelId="{74ED4C8D-9A3E-4744-B13F-0ED7F6EF175B}" type="parTrans" cxnId="{DCD20452-0C17-4346-B02D-80C9C3FA5147}">
      <dgm:prSet/>
      <dgm:spPr/>
      <dgm:t>
        <a:bodyPr/>
        <a:lstStyle/>
        <a:p>
          <a:endParaRPr lang="en-US"/>
        </a:p>
      </dgm:t>
    </dgm:pt>
    <dgm:pt modelId="{D10D470F-921E-4115-BDFE-46617BB58DC2}" type="sibTrans" cxnId="{DCD20452-0C17-4346-B02D-80C9C3FA5147}">
      <dgm:prSet/>
      <dgm:spPr/>
      <dgm:t>
        <a:bodyPr/>
        <a:lstStyle/>
        <a:p>
          <a:endParaRPr lang="en-US"/>
        </a:p>
      </dgm:t>
    </dgm:pt>
    <dgm:pt modelId="{B9EBE8A0-153F-4245-ADEF-A2F469B54ED8}">
      <dgm:prSet custT="1"/>
      <dgm:spPr/>
      <dgm:t>
        <a:bodyPr/>
        <a:lstStyle/>
        <a:p>
          <a:pPr rtl="0"/>
          <a:r>
            <a:rPr lang="nb-NO" sz="2400" dirty="0">
              <a:latin typeface="+mn-lt"/>
            </a:rPr>
            <a:t>Felles rammeavtaler </a:t>
          </a:r>
          <a:endParaRPr lang="en-US" sz="1600" dirty="0">
            <a:latin typeface="+mn-lt"/>
          </a:endParaRPr>
        </a:p>
      </dgm:t>
    </dgm:pt>
    <dgm:pt modelId="{6F46154C-5FC5-49E2-B274-65744713E69B}" type="parTrans" cxnId="{44C7B8DE-2A6A-413F-8546-4644A146341B}">
      <dgm:prSet/>
      <dgm:spPr/>
      <dgm:t>
        <a:bodyPr/>
        <a:lstStyle/>
        <a:p>
          <a:endParaRPr lang="en-US"/>
        </a:p>
      </dgm:t>
    </dgm:pt>
    <dgm:pt modelId="{E92B60B7-2620-40E8-B833-EE00CC72A4B8}" type="sibTrans" cxnId="{44C7B8DE-2A6A-413F-8546-4644A146341B}">
      <dgm:prSet/>
      <dgm:spPr/>
      <dgm:t>
        <a:bodyPr/>
        <a:lstStyle/>
        <a:p>
          <a:endParaRPr lang="en-US"/>
        </a:p>
      </dgm:t>
    </dgm:pt>
    <dgm:pt modelId="{B6B42297-6DAA-4123-92D5-B5FC8570CA54}">
      <dgm:prSet custT="1"/>
      <dgm:spPr/>
      <dgm:t>
        <a:bodyPr/>
        <a:lstStyle/>
        <a:p>
          <a:pPr rtl="0"/>
          <a:r>
            <a:rPr lang="nb-NO" sz="2400" b="0" dirty="0"/>
            <a:t>Finansierings-ordning</a:t>
          </a:r>
          <a:endParaRPr lang="en-US" sz="1600" dirty="0"/>
        </a:p>
      </dgm:t>
    </dgm:pt>
    <dgm:pt modelId="{B7557789-BC99-427E-91A7-4E16079F34E9}" type="parTrans" cxnId="{E266C464-F068-44D9-B48A-5C520A83DF1C}">
      <dgm:prSet/>
      <dgm:spPr/>
      <dgm:t>
        <a:bodyPr/>
        <a:lstStyle/>
        <a:p>
          <a:endParaRPr lang="en-US"/>
        </a:p>
      </dgm:t>
    </dgm:pt>
    <dgm:pt modelId="{91E113CC-ACE3-4C41-9565-87B72A4F1A2E}" type="sibTrans" cxnId="{E266C464-F068-44D9-B48A-5C520A83DF1C}">
      <dgm:prSet/>
      <dgm:spPr/>
      <dgm:t>
        <a:bodyPr/>
        <a:lstStyle/>
        <a:p>
          <a:endParaRPr lang="en-US"/>
        </a:p>
      </dgm:t>
    </dgm:pt>
    <dgm:pt modelId="{509A3D7B-5BB4-4DF2-BAA3-6B331BE126B2}">
      <dgm:prSet custT="1"/>
      <dgm:spPr/>
      <dgm:t>
        <a:bodyPr/>
        <a:lstStyle/>
        <a:p>
          <a:r>
            <a:rPr lang="nb-NO" sz="2400" dirty="0"/>
            <a:t>Velferds-teknologiens ABC</a:t>
          </a:r>
          <a:endParaRPr lang="en-US" sz="1600" dirty="0"/>
        </a:p>
      </dgm:t>
    </dgm:pt>
    <dgm:pt modelId="{A5335D7A-E287-4C6E-B1AD-653E669CB007}" type="parTrans" cxnId="{2D7AA9A0-FE8A-473D-9C9B-8073703F672A}">
      <dgm:prSet/>
      <dgm:spPr/>
      <dgm:t>
        <a:bodyPr/>
        <a:lstStyle/>
        <a:p>
          <a:endParaRPr lang="en-US"/>
        </a:p>
      </dgm:t>
    </dgm:pt>
    <dgm:pt modelId="{4C12E630-6A2D-49AB-93AF-91669FC97E9A}" type="sibTrans" cxnId="{2D7AA9A0-FE8A-473D-9C9B-8073703F672A}">
      <dgm:prSet/>
      <dgm:spPr/>
      <dgm:t>
        <a:bodyPr/>
        <a:lstStyle/>
        <a:p>
          <a:endParaRPr lang="en-US"/>
        </a:p>
      </dgm:t>
    </dgm:pt>
    <dgm:pt modelId="{A908A2D2-68EC-4996-97F2-8E593FF43C00}">
      <dgm:prSet custT="1"/>
      <dgm:spPr/>
      <dgm:t>
        <a:bodyPr/>
        <a:lstStyle/>
        <a:p>
          <a:pPr rtl="0"/>
          <a:r>
            <a:rPr lang="nb-NO" sz="2400" dirty="0">
              <a:latin typeface="+mn-lt"/>
            </a:rPr>
            <a:t>Informasjons-materiell om velferdsteknologi </a:t>
          </a:r>
          <a:endParaRPr lang="en-US" sz="2400" dirty="0">
            <a:latin typeface="+mn-lt"/>
          </a:endParaRPr>
        </a:p>
      </dgm:t>
    </dgm:pt>
    <dgm:pt modelId="{3A9C852F-2C44-495F-B8AB-55334F3A3C70}" type="parTrans" cxnId="{D171613A-ADEA-4810-805D-CC51BA332218}">
      <dgm:prSet/>
      <dgm:spPr/>
      <dgm:t>
        <a:bodyPr/>
        <a:lstStyle/>
        <a:p>
          <a:endParaRPr lang="en-US"/>
        </a:p>
      </dgm:t>
    </dgm:pt>
    <dgm:pt modelId="{92F1123F-2415-478B-B696-ED52E0B85752}" type="sibTrans" cxnId="{D171613A-ADEA-4810-805D-CC51BA332218}">
      <dgm:prSet/>
      <dgm:spPr/>
      <dgm:t>
        <a:bodyPr/>
        <a:lstStyle/>
        <a:p>
          <a:endParaRPr lang="en-US"/>
        </a:p>
      </dgm:t>
    </dgm:pt>
    <dgm:pt modelId="{0CC3D5A5-D0B0-45FC-A785-BC6B62986FFF}">
      <dgm:prSet/>
      <dgm:spPr/>
      <dgm:t>
        <a:bodyPr/>
        <a:lstStyle/>
        <a:p>
          <a:pPr rtl="0"/>
          <a:r>
            <a:rPr lang="nb-NO" dirty="0">
              <a:latin typeface="Calibri"/>
            </a:rPr>
            <a:t>Forenklet</a:t>
          </a:r>
          <a:r>
            <a:rPr lang="nb-NO" dirty="0"/>
            <a:t> oversikt over juridisk spørsmål</a:t>
          </a:r>
          <a:endParaRPr lang="en-US" dirty="0"/>
        </a:p>
      </dgm:t>
    </dgm:pt>
    <dgm:pt modelId="{83B01A63-47C1-47D4-BA26-F09BF1D3E921}" type="parTrans" cxnId="{D5B7EE8D-0A6F-4E5D-99BD-D7C1911410AE}">
      <dgm:prSet/>
      <dgm:spPr/>
      <dgm:t>
        <a:bodyPr/>
        <a:lstStyle/>
        <a:p>
          <a:endParaRPr lang="en-US"/>
        </a:p>
      </dgm:t>
    </dgm:pt>
    <dgm:pt modelId="{A5EA0E52-2ED4-434E-8C66-F2B9AA37AA4C}" type="sibTrans" cxnId="{D5B7EE8D-0A6F-4E5D-99BD-D7C1911410AE}">
      <dgm:prSet/>
      <dgm:spPr/>
      <dgm:t>
        <a:bodyPr/>
        <a:lstStyle/>
        <a:p>
          <a:endParaRPr lang="en-US"/>
        </a:p>
      </dgm:t>
    </dgm:pt>
    <dgm:pt modelId="{D32673BA-07AA-4CDC-9A15-F7B040AA975D}" type="pres">
      <dgm:prSet presAssocID="{4EAF7247-9109-4C99-821B-976E76E20D71}" presName="diagram" presStyleCnt="0">
        <dgm:presLayoutVars>
          <dgm:dir/>
          <dgm:resizeHandles val="exact"/>
        </dgm:presLayoutVars>
      </dgm:prSet>
      <dgm:spPr/>
    </dgm:pt>
    <dgm:pt modelId="{4903E348-61BB-4DE3-8401-920C3DC1C223}" type="pres">
      <dgm:prSet presAssocID="{7A2F80AF-57C3-43EF-8B39-607E1D430898}" presName="node" presStyleLbl="node1" presStyleIdx="0" presStyleCnt="10">
        <dgm:presLayoutVars>
          <dgm:bulletEnabled val="1"/>
        </dgm:presLayoutVars>
      </dgm:prSet>
      <dgm:spPr/>
    </dgm:pt>
    <dgm:pt modelId="{81B58F3F-1CC8-4633-8A6A-51A20F60075E}" type="pres">
      <dgm:prSet presAssocID="{4DE5C158-7D93-477F-85F1-6BBB1AB507A2}" presName="sibTrans" presStyleCnt="0"/>
      <dgm:spPr/>
    </dgm:pt>
    <dgm:pt modelId="{383ECB5C-BBBC-471D-B0D5-39C7E65AE9C9}" type="pres">
      <dgm:prSet presAssocID="{FDBC8E7A-9B94-4841-8DC2-18E764488684}" presName="node" presStyleLbl="node1" presStyleIdx="1" presStyleCnt="10">
        <dgm:presLayoutVars>
          <dgm:bulletEnabled val="1"/>
        </dgm:presLayoutVars>
      </dgm:prSet>
      <dgm:spPr/>
    </dgm:pt>
    <dgm:pt modelId="{6234F319-FA4E-4E65-A5A7-11D90F08A59C}" type="pres">
      <dgm:prSet presAssocID="{150E793D-1E72-430C-91BF-E43F8BC5BC5A}" presName="sibTrans" presStyleCnt="0"/>
      <dgm:spPr/>
    </dgm:pt>
    <dgm:pt modelId="{AAEA58D2-7AE2-458A-BAAB-0B267A533FE3}" type="pres">
      <dgm:prSet presAssocID="{5A49DC60-AA72-457C-BFD6-B80EA52ED90A}" presName="node" presStyleLbl="node1" presStyleIdx="2" presStyleCnt="10">
        <dgm:presLayoutVars>
          <dgm:bulletEnabled val="1"/>
        </dgm:presLayoutVars>
      </dgm:prSet>
      <dgm:spPr/>
    </dgm:pt>
    <dgm:pt modelId="{22F3B706-005D-4A46-B994-935625C39D67}" type="pres">
      <dgm:prSet presAssocID="{AB6DDCED-C417-4FDA-BEA6-A6EDF7B9F84E}" presName="sibTrans" presStyleCnt="0"/>
      <dgm:spPr/>
    </dgm:pt>
    <dgm:pt modelId="{C91791EA-2019-4B4B-9FC4-9FC441E590EF}" type="pres">
      <dgm:prSet presAssocID="{557293DC-6FAE-489D-B4CB-3766FF8626F6}" presName="node" presStyleLbl="node1" presStyleIdx="3" presStyleCnt="10">
        <dgm:presLayoutVars>
          <dgm:bulletEnabled val="1"/>
        </dgm:presLayoutVars>
      </dgm:prSet>
      <dgm:spPr/>
    </dgm:pt>
    <dgm:pt modelId="{0CF99B48-E344-48C9-8EBA-F6FE8608A60F}" type="pres">
      <dgm:prSet presAssocID="{55A0884B-B7EB-4761-976B-86F22808AE30}" presName="sibTrans" presStyleCnt="0"/>
      <dgm:spPr/>
    </dgm:pt>
    <dgm:pt modelId="{896EDD5F-59B0-4C1F-87E0-4ACCA71F3DE0}" type="pres">
      <dgm:prSet presAssocID="{067C9672-87CF-4FAC-B30F-4AB51FF70DEE}" presName="node" presStyleLbl="node1" presStyleIdx="4" presStyleCnt="10">
        <dgm:presLayoutVars>
          <dgm:bulletEnabled val="1"/>
        </dgm:presLayoutVars>
      </dgm:prSet>
      <dgm:spPr/>
    </dgm:pt>
    <dgm:pt modelId="{C5A704F3-89F1-4B6E-B0E2-1F69DDA1EB38}" type="pres">
      <dgm:prSet presAssocID="{D10D470F-921E-4115-BDFE-46617BB58DC2}" presName="sibTrans" presStyleCnt="0"/>
      <dgm:spPr/>
    </dgm:pt>
    <dgm:pt modelId="{1A395C44-D95F-4834-A5C6-D21D78528DAB}" type="pres">
      <dgm:prSet presAssocID="{B9EBE8A0-153F-4245-ADEF-A2F469B54ED8}" presName="node" presStyleLbl="node1" presStyleIdx="5" presStyleCnt="10">
        <dgm:presLayoutVars>
          <dgm:bulletEnabled val="1"/>
        </dgm:presLayoutVars>
      </dgm:prSet>
      <dgm:spPr/>
    </dgm:pt>
    <dgm:pt modelId="{D7662856-203C-42B6-82E5-47F6DFCCB1A1}" type="pres">
      <dgm:prSet presAssocID="{E92B60B7-2620-40E8-B833-EE00CC72A4B8}" presName="sibTrans" presStyleCnt="0"/>
      <dgm:spPr/>
    </dgm:pt>
    <dgm:pt modelId="{D0266254-C5BA-49BC-9242-F87F0AA25467}" type="pres">
      <dgm:prSet presAssocID="{B6B42297-6DAA-4123-92D5-B5FC8570CA54}" presName="node" presStyleLbl="node1" presStyleIdx="6" presStyleCnt="10">
        <dgm:presLayoutVars>
          <dgm:bulletEnabled val="1"/>
        </dgm:presLayoutVars>
      </dgm:prSet>
      <dgm:spPr/>
    </dgm:pt>
    <dgm:pt modelId="{C1D24A01-D897-4101-83F3-78A4FE6A7F1C}" type="pres">
      <dgm:prSet presAssocID="{91E113CC-ACE3-4C41-9565-87B72A4F1A2E}" presName="sibTrans" presStyleCnt="0"/>
      <dgm:spPr/>
    </dgm:pt>
    <dgm:pt modelId="{EB14715F-0924-4521-A6C6-4F113E1438D8}" type="pres">
      <dgm:prSet presAssocID="{509A3D7B-5BB4-4DF2-BAA3-6B331BE126B2}" presName="node" presStyleLbl="node1" presStyleIdx="7" presStyleCnt="10">
        <dgm:presLayoutVars>
          <dgm:bulletEnabled val="1"/>
        </dgm:presLayoutVars>
      </dgm:prSet>
      <dgm:spPr/>
    </dgm:pt>
    <dgm:pt modelId="{22CBC341-45D5-4CE1-9EE7-243FDC8C0FC7}" type="pres">
      <dgm:prSet presAssocID="{4C12E630-6A2D-49AB-93AF-91669FC97E9A}" presName="sibTrans" presStyleCnt="0"/>
      <dgm:spPr/>
    </dgm:pt>
    <dgm:pt modelId="{4839E9DE-CB99-4BEC-BEBF-1D14DE54BBF2}" type="pres">
      <dgm:prSet presAssocID="{A908A2D2-68EC-4996-97F2-8E593FF43C00}" presName="node" presStyleLbl="node1" presStyleIdx="8" presStyleCnt="10">
        <dgm:presLayoutVars>
          <dgm:bulletEnabled val="1"/>
        </dgm:presLayoutVars>
      </dgm:prSet>
      <dgm:spPr/>
    </dgm:pt>
    <dgm:pt modelId="{205ADA4E-CA61-48B2-8227-D2F11F32F622}" type="pres">
      <dgm:prSet presAssocID="{92F1123F-2415-478B-B696-ED52E0B85752}" presName="sibTrans" presStyleCnt="0"/>
      <dgm:spPr/>
    </dgm:pt>
    <dgm:pt modelId="{84710106-5C95-496F-BE68-BD2B7A9D12AF}" type="pres">
      <dgm:prSet presAssocID="{0CC3D5A5-D0B0-45FC-A785-BC6B62986FFF}" presName="node" presStyleLbl="node1" presStyleIdx="9" presStyleCnt="10">
        <dgm:presLayoutVars>
          <dgm:bulletEnabled val="1"/>
        </dgm:presLayoutVars>
      </dgm:prSet>
      <dgm:spPr/>
    </dgm:pt>
  </dgm:ptLst>
  <dgm:cxnLst>
    <dgm:cxn modelId="{0EA89603-14F3-43A9-B26B-045378793C6A}" type="presOf" srcId="{509A3D7B-5BB4-4DF2-BAA3-6B331BE126B2}" destId="{EB14715F-0924-4521-A6C6-4F113E1438D8}" srcOrd="0" destOrd="0" presId="urn:microsoft.com/office/officeart/2005/8/layout/default"/>
    <dgm:cxn modelId="{591E3112-3C18-446E-A85E-9D31D787A28E}" srcId="{4EAF7247-9109-4C99-821B-976E76E20D71}" destId="{FDBC8E7A-9B94-4841-8DC2-18E764488684}" srcOrd="1" destOrd="0" parTransId="{FCB309C9-38A1-4B4E-966C-68488C87EE16}" sibTransId="{150E793D-1E72-430C-91BF-E43F8BC5BC5A}"/>
    <dgm:cxn modelId="{50426C15-E877-41A8-9539-1AE27F047DAC}" type="presOf" srcId="{067C9672-87CF-4FAC-B30F-4AB51FF70DEE}" destId="{896EDD5F-59B0-4C1F-87E0-4ACCA71F3DE0}" srcOrd="0" destOrd="0" presId="urn:microsoft.com/office/officeart/2005/8/layout/default"/>
    <dgm:cxn modelId="{2B96561C-45B6-4030-8356-45596347E9FF}" type="presOf" srcId="{B6B42297-6DAA-4123-92D5-B5FC8570CA54}" destId="{D0266254-C5BA-49BC-9242-F87F0AA25467}" srcOrd="0" destOrd="0" presId="urn:microsoft.com/office/officeart/2005/8/layout/default"/>
    <dgm:cxn modelId="{3B71A122-A638-4B81-8FB9-58C92F5EAFD7}" srcId="{4EAF7247-9109-4C99-821B-976E76E20D71}" destId="{5A49DC60-AA72-457C-BFD6-B80EA52ED90A}" srcOrd="2" destOrd="0" parTransId="{57E9402C-0B42-4EBC-B793-86B8EFDD2EAE}" sibTransId="{AB6DDCED-C417-4FDA-BEA6-A6EDF7B9F84E}"/>
    <dgm:cxn modelId="{D171613A-ADEA-4810-805D-CC51BA332218}" srcId="{4EAF7247-9109-4C99-821B-976E76E20D71}" destId="{A908A2D2-68EC-4996-97F2-8E593FF43C00}" srcOrd="8" destOrd="0" parTransId="{3A9C852F-2C44-495F-B8AB-55334F3A3C70}" sibTransId="{92F1123F-2415-478B-B696-ED52E0B85752}"/>
    <dgm:cxn modelId="{2349955D-04DA-40A4-9065-EA41CBDC3BC8}" type="presOf" srcId="{B9EBE8A0-153F-4245-ADEF-A2F469B54ED8}" destId="{1A395C44-D95F-4834-A5C6-D21D78528DAB}" srcOrd="0" destOrd="0" presId="urn:microsoft.com/office/officeart/2005/8/layout/default"/>
    <dgm:cxn modelId="{E266C464-F068-44D9-B48A-5C520A83DF1C}" srcId="{4EAF7247-9109-4C99-821B-976E76E20D71}" destId="{B6B42297-6DAA-4123-92D5-B5FC8570CA54}" srcOrd="6" destOrd="0" parTransId="{B7557789-BC99-427E-91A7-4E16079F34E9}" sibTransId="{91E113CC-ACE3-4C41-9565-87B72A4F1A2E}"/>
    <dgm:cxn modelId="{C77A6F67-04A3-4C66-92FB-213789E1574C}" type="presOf" srcId="{A908A2D2-68EC-4996-97F2-8E593FF43C00}" destId="{4839E9DE-CB99-4BEC-BEBF-1D14DE54BBF2}" srcOrd="0" destOrd="0" presId="urn:microsoft.com/office/officeart/2005/8/layout/default"/>
    <dgm:cxn modelId="{FBFBCF48-E765-49F1-9B5C-F2D641F87BFF}" type="presOf" srcId="{557293DC-6FAE-489D-B4CB-3766FF8626F6}" destId="{C91791EA-2019-4B4B-9FC4-9FC441E590EF}" srcOrd="0" destOrd="0" presId="urn:microsoft.com/office/officeart/2005/8/layout/default"/>
    <dgm:cxn modelId="{02F6416A-E269-4631-99E1-3593C1279764}" type="presOf" srcId="{0CC3D5A5-D0B0-45FC-A785-BC6B62986FFF}" destId="{84710106-5C95-496F-BE68-BD2B7A9D12AF}" srcOrd="0" destOrd="0" presId="urn:microsoft.com/office/officeart/2005/8/layout/default"/>
    <dgm:cxn modelId="{DCD20452-0C17-4346-B02D-80C9C3FA5147}" srcId="{4EAF7247-9109-4C99-821B-976E76E20D71}" destId="{067C9672-87CF-4FAC-B30F-4AB51FF70DEE}" srcOrd="4" destOrd="0" parTransId="{74ED4C8D-9A3E-4744-B13F-0ED7F6EF175B}" sibTransId="{D10D470F-921E-4115-BDFE-46617BB58DC2}"/>
    <dgm:cxn modelId="{D5B7EE8D-0A6F-4E5D-99BD-D7C1911410AE}" srcId="{4EAF7247-9109-4C99-821B-976E76E20D71}" destId="{0CC3D5A5-D0B0-45FC-A785-BC6B62986FFF}" srcOrd="9" destOrd="0" parTransId="{83B01A63-47C1-47D4-BA26-F09BF1D3E921}" sibTransId="{A5EA0E52-2ED4-434E-8C66-F2B9AA37AA4C}"/>
    <dgm:cxn modelId="{88D87597-4F12-42C9-8737-AFBFE4F10E78}" type="presOf" srcId="{4EAF7247-9109-4C99-821B-976E76E20D71}" destId="{D32673BA-07AA-4CDC-9A15-F7B040AA975D}" srcOrd="0" destOrd="0" presId="urn:microsoft.com/office/officeart/2005/8/layout/default"/>
    <dgm:cxn modelId="{D6803E99-1993-4EA0-A450-669580DD06FA}" type="presOf" srcId="{5A49DC60-AA72-457C-BFD6-B80EA52ED90A}" destId="{AAEA58D2-7AE2-458A-BAAB-0B267A533FE3}" srcOrd="0" destOrd="0" presId="urn:microsoft.com/office/officeart/2005/8/layout/default"/>
    <dgm:cxn modelId="{2D7AA9A0-FE8A-473D-9C9B-8073703F672A}" srcId="{4EAF7247-9109-4C99-821B-976E76E20D71}" destId="{509A3D7B-5BB4-4DF2-BAA3-6B331BE126B2}" srcOrd="7" destOrd="0" parTransId="{A5335D7A-E287-4C6E-B1AD-653E669CB007}" sibTransId="{4C12E630-6A2D-49AB-93AF-91669FC97E9A}"/>
    <dgm:cxn modelId="{8D7A6EA9-A4C0-442A-B03F-8514E1E9E610}" srcId="{4EAF7247-9109-4C99-821B-976E76E20D71}" destId="{557293DC-6FAE-489D-B4CB-3766FF8626F6}" srcOrd="3" destOrd="0" parTransId="{80EEADCF-CB55-49EC-833F-8A959FCDEFE1}" sibTransId="{55A0884B-B7EB-4761-976B-86F22808AE30}"/>
    <dgm:cxn modelId="{600536AC-1F79-420D-932E-D6F21FE5389A}" srcId="{4EAF7247-9109-4C99-821B-976E76E20D71}" destId="{7A2F80AF-57C3-43EF-8B39-607E1D430898}" srcOrd="0" destOrd="0" parTransId="{FFC88194-AA9A-43BF-A816-ED271ED164B7}" sibTransId="{4DE5C158-7D93-477F-85F1-6BBB1AB507A2}"/>
    <dgm:cxn modelId="{CC9335DC-EAF3-46C7-96DC-84486C096DD5}" type="presOf" srcId="{7A2F80AF-57C3-43EF-8B39-607E1D430898}" destId="{4903E348-61BB-4DE3-8401-920C3DC1C223}" srcOrd="0" destOrd="0" presId="urn:microsoft.com/office/officeart/2005/8/layout/default"/>
    <dgm:cxn modelId="{44C7B8DE-2A6A-413F-8546-4644A146341B}" srcId="{4EAF7247-9109-4C99-821B-976E76E20D71}" destId="{B9EBE8A0-153F-4245-ADEF-A2F469B54ED8}" srcOrd="5" destOrd="0" parTransId="{6F46154C-5FC5-49E2-B274-65744713E69B}" sibTransId="{E92B60B7-2620-40E8-B833-EE00CC72A4B8}"/>
    <dgm:cxn modelId="{47E52BE2-A04B-4B6A-95B8-93935AEB5FCD}" type="presOf" srcId="{FDBC8E7A-9B94-4841-8DC2-18E764488684}" destId="{383ECB5C-BBBC-471D-B0D5-39C7E65AE9C9}" srcOrd="0" destOrd="0" presId="urn:microsoft.com/office/officeart/2005/8/layout/default"/>
    <dgm:cxn modelId="{FF4A1923-5A9D-4420-858B-A7B523BB6EB2}" type="presParOf" srcId="{D32673BA-07AA-4CDC-9A15-F7B040AA975D}" destId="{4903E348-61BB-4DE3-8401-920C3DC1C223}" srcOrd="0" destOrd="0" presId="urn:microsoft.com/office/officeart/2005/8/layout/default"/>
    <dgm:cxn modelId="{52CE9A79-BD62-42F0-A3BB-1D1BE989BCB0}" type="presParOf" srcId="{D32673BA-07AA-4CDC-9A15-F7B040AA975D}" destId="{81B58F3F-1CC8-4633-8A6A-51A20F60075E}" srcOrd="1" destOrd="0" presId="urn:microsoft.com/office/officeart/2005/8/layout/default"/>
    <dgm:cxn modelId="{0C9CB7C4-A803-4BCB-89A2-7F719BAA451A}" type="presParOf" srcId="{D32673BA-07AA-4CDC-9A15-F7B040AA975D}" destId="{383ECB5C-BBBC-471D-B0D5-39C7E65AE9C9}" srcOrd="2" destOrd="0" presId="urn:microsoft.com/office/officeart/2005/8/layout/default"/>
    <dgm:cxn modelId="{E75459D2-7940-4E30-95AC-C8B9111A3E49}" type="presParOf" srcId="{D32673BA-07AA-4CDC-9A15-F7B040AA975D}" destId="{6234F319-FA4E-4E65-A5A7-11D90F08A59C}" srcOrd="3" destOrd="0" presId="urn:microsoft.com/office/officeart/2005/8/layout/default"/>
    <dgm:cxn modelId="{61DAE6BA-7215-4670-8D34-04B7F118BBE0}" type="presParOf" srcId="{D32673BA-07AA-4CDC-9A15-F7B040AA975D}" destId="{AAEA58D2-7AE2-458A-BAAB-0B267A533FE3}" srcOrd="4" destOrd="0" presId="urn:microsoft.com/office/officeart/2005/8/layout/default"/>
    <dgm:cxn modelId="{5AD9D726-51B0-412C-9571-CBE39914BF0A}" type="presParOf" srcId="{D32673BA-07AA-4CDC-9A15-F7B040AA975D}" destId="{22F3B706-005D-4A46-B994-935625C39D67}" srcOrd="5" destOrd="0" presId="urn:microsoft.com/office/officeart/2005/8/layout/default"/>
    <dgm:cxn modelId="{67036F28-0416-42F0-9006-CAFDE9F9F951}" type="presParOf" srcId="{D32673BA-07AA-4CDC-9A15-F7B040AA975D}" destId="{C91791EA-2019-4B4B-9FC4-9FC441E590EF}" srcOrd="6" destOrd="0" presId="urn:microsoft.com/office/officeart/2005/8/layout/default"/>
    <dgm:cxn modelId="{21ACE758-86C4-4A07-A12D-28A5D3E1A28F}" type="presParOf" srcId="{D32673BA-07AA-4CDC-9A15-F7B040AA975D}" destId="{0CF99B48-E344-48C9-8EBA-F6FE8608A60F}" srcOrd="7" destOrd="0" presId="urn:microsoft.com/office/officeart/2005/8/layout/default"/>
    <dgm:cxn modelId="{A2464C51-51DD-4C1B-B5D1-A11F5965C75E}" type="presParOf" srcId="{D32673BA-07AA-4CDC-9A15-F7B040AA975D}" destId="{896EDD5F-59B0-4C1F-87E0-4ACCA71F3DE0}" srcOrd="8" destOrd="0" presId="urn:microsoft.com/office/officeart/2005/8/layout/default"/>
    <dgm:cxn modelId="{9B07309B-305B-4E43-92FB-38DB9BF36E18}" type="presParOf" srcId="{D32673BA-07AA-4CDC-9A15-F7B040AA975D}" destId="{C5A704F3-89F1-4B6E-B0E2-1F69DDA1EB38}" srcOrd="9" destOrd="0" presId="urn:microsoft.com/office/officeart/2005/8/layout/default"/>
    <dgm:cxn modelId="{152D0514-3809-48B6-98D5-A630713383CD}" type="presParOf" srcId="{D32673BA-07AA-4CDC-9A15-F7B040AA975D}" destId="{1A395C44-D95F-4834-A5C6-D21D78528DAB}" srcOrd="10" destOrd="0" presId="urn:microsoft.com/office/officeart/2005/8/layout/default"/>
    <dgm:cxn modelId="{3E3402E9-750D-45CE-A9AA-8F2611FA8A2A}" type="presParOf" srcId="{D32673BA-07AA-4CDC-9A15-F7B040AA975D}" destId="{D7662856-203C-42B6-82E5-47F6DFCCB1A1}" srcOrd="11" destOrd="0" presId="urn:microsoft.com/office/officeart/2005/8/layout/default"/>
    <dgm:cxn modelId="{260D70AB-C601-470F-8392-8D5E11AC3A38}" type="presParOf" srcId="{D32673BA-07AA-4CDC-9A15-F7B040AA975D}" destId="{D0266254-C5BA-49BC-9242-F87F0AA25467}" srcOrd="12" destOrd="0" presId="urn:microsoft.com/office/officeart/2005/8/layout/default"/>
    <dgm:cxn modelId="{6E13BC76-5D67-4F3C-A73D-22E50D75DADF}" type="presParOf" srcId="{D32673BA-07AA-4CDC-9A15-F7B040AA975D}" destId="{C1D24A01-D897-4101-83F3-78A4FE6A7F1C}" srcOrd="13" destOrd="0" presId="urn:microsoft.com/office/officeart/2005/8/layout/default"/>
    <dgm:cxn modelId="{0EC310E5-8AAF-4208-99BD-0C03D5E4C830}" type="presParOf" srcId="{D32673BA-07AA-4CDC-9A15-F7B040AA975D}" destId="{EB14715F-0924-4521-A6C6-4F113E1438D8}" srcOrd="14" destOrd="0" presId="urn:microsoft.com/office/officeart/2005/8/layout/default"/>
    <dgm:cxn modelId="{7FC1313E-761B-47F6-A062-38E077769691}" type="presParOf" srcId="{D32673BA-07AA-4CDC-9A15-F7B040AA975D}" destId="{22CBC341-45D5-4CE1-9EE7-243FDC8C0FC7}" srcOrd="15" destOrd="0" presId="urn:microsoft.com/office/officeart/2005/8/layout/default"/>
    <dgm:cxn modelId="{62A2A809-E8F6-4551-A1D8-40576C825443}" type="presParOf" srcId="{D32673BA-07AA-4CDC-9A15-F7B040AA975D}" destId="{4839E9DE-CB99-4BEC-BEBF-1D14DE54BBF2}" srcOrd="16" destOrd="0" presId="urn:microsoft.com/office/officeart/2005/8/layout/default"/>
    <dgm:cxn modelId="{7254FCB9-1F3A-4F90-BA5A-44E6CD352285}" type="presParOf" srcId="{D32673BA-07AA-4CDC-9A15-F7B040AA975D}" destId="{205ADA4E-CA61-48B2-8227-D2F11F32F622}" srcOrd="17" destOrd="0" presId="urn:microsoft.com/office/officeart/2005/8/layout/default"/>
    <dgm:cxn modelId="{7E01320F-74A9-4C01-B7A1-ADC23E4E2489}" type="presParOf" srcId="{D32673BA-07AA-4CDC-9A15-F7B040AA975D}" destId="{84710106-5C95-496F-BE68-BD2B7A9D12AF}" srcOrd="1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903E348-61BB-4DE3-8401-920C3DC1C223}">
      <dsp:nvSpPr>
        <dsp:cNvPr id="0" name=""/>
        <dsp:cNvSpPr/>
      </dsp:nvSpPr>
      <dsp:spPr>
        <a:xfrm>
          <a:off x="507617" y="2492"/>
          <a:ext cx="2362153" cy="141729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400" kern="1200" dirty="0">
              <a:latin typeface="+mn-lt"/>
            </a:rPr>
            <a:t>Felles rammer og anbefalinger</a:t>
          </a:r>
          <a:endParaRPr lang="en-US" sz="1600" kern="1200" dirty="0"/>
        </a:p>
      </dsp:txBody>
      <dsp:txXfrm>
        <a:off x="507617" y="2492"/>
        <a:ext cx="2362153" cy="1417292"/>
      </dsp:txXfrm>
    </dsp:sp>
    <dsp:sp modelId="{383ECB5C-BBBC-471D-B0D5-39C7E65AE9C9}">
      <dsp:nvSpPr>
        <dsp:cNvPr id="0" name=""/>
        <dsp:cNvSpPr/>
      </dsp:nvSpPr>
      <dsp:spPr>
        <a:xfrm>
          <a:off x="3105986" y="2492"/>
          <a:ext cx="2362153" cy="141729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400" kern="1200" dirty="0">
              <a:latin typeface="Calibri"/>
            </a:rPr>
            <a:t>Standardisere</a:t>
          </a:r>
          <a:r>
            <a:rPr lang="nb-NO" sz="1600" kern="1200" dirty="0"/>
            <a:t> arbeidsprosesser, dokumentmaler og prosedyrer</a:t>
          </a:r>
          <a:endParaRPr lang="en-US" sz="1600" kern="1200" dirty="0"/>
        </a:p>
      </dsp:txBody>
      <dsp:txXfrm>
        <a:off x="3105986" y="2492"/>
        <a:ext cx="2362153" cy="1417292"/>
      </dsp:txXfrm>
    </dsp:sp>
    <dsp:sp modelId="{AAEA58D2-7AE2-458A-BAAB-0B267A533FE3}">
      <dsp:nvSpPr>
        <dsp:cNvPr id="0" name=""/>
        <dsp:cNvSpPr/>
      </dsp:nvSpPr>
      <dsp:spPr>
        <a:xfrm>
          <a:off x="5704355" y="2492"/>
          <a:ext cx="2362153" cy="141729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400" b="0" kern="1200" dirty="0"/>
            <a:t>Felles innføringsløp</a:t>
          </a:r>
          <a:endParaRPr lang="en-US" sz="1600" kern="1200" dirty="0"/>
        </a:p>
      </dsp:txBody>
      <dsp:txXfrm>
        <a:off x="5704355" y="2492"/>
        <a:ext cx="2362153" cy="1417292"/>
      </dsp:txXfrm>
    </dsp:sp>
    <dsp:sp modelId="{C91791EA-2019-4B4B-9FC4-9FC441E590EF}">
      <dsp:nvSpPr>
        <dsp:cNvPr id="0" name=""/>
        <dsp:cNvSpPr/>
      </dsp:nvSpPr>
      <dsp:spPr>
        <a:xfrm>
          <a:off x="8302724" y="2492"/>
          <a:ext cx="2362153" cy="141729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400" kern="1200" dirty="0"/>
            <a:t>Modell for </a:t>
          </a:r>
          <a:r>
            <a:rPr lang="nb-NO" sz="2400" b="0" kern="1200" dirty="0"/>
            <a:t>gevinst-realisering</a:t>
          </a:r>
          <a:r>
            <a:rPr lang="nb-NO" sz="1600" b="0" kern="1200" dirty="0"/>
            <a:t> </a:t>
          </a:r>
          <a:endParaRPr lang="en-US" sz="1600" b="0" kern="1200" dirty="0"/>
        </a:p>
      </dsp:txBody>
      <dsp:txXfrm>
        <a:off x="8302724" y="2492"/>
        <a:ext cx="2362153" cy="1417292"/>
      </dsp:txXfrm>
    </dsp:sp>
    <dsp:sp modelId="{896EDD5F-59B0-4C1F-87E0-4ACCA71F3DE0}">
      <dsp:nvSpPr>
        <dsp:cNvPr id="0" name=""/>
        <dsp:cNvSpPr/>
      </dsp:nvSpPr>
      <dsp:spPr>
        <a:xfrm>
          <a:off x="507617" y="1656000"/>
          <a:ext cx="2362153" cy="141729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400" kern="1200" dirty="0"/>
            <a:t>Selvdeklarerings-løsning</a:t>
          </a:r>
          <a:endParaRPr lang="en-US" sz="1600" kern="1200" dirty="0"/>
        </a:p>
      </dsp:txBody>
      <dsp:txXfrm>
        <a:off x="507617" y="1656000"/>
        <a:ext cx="2362153" cy="1417292"/>
      </dsp:txXfrm>
    </dsp:sp>
    <dsp:sp modelId="{1A395C44-D95F-4834-A5C6-D21D78528DAB}">
      <dsp:nvSpPr>
        <dsp:cNvPr id="0" name=""/>
        <dsp:cNvSpPr/>
      </dsp:nvSpPr>
      <dsp:spPr>
        <a:xfrm>
          <a:off x="3105986" y="1656000"/>
          <a:ext cx="2362153" cy="141729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400" kern="1200" dirty="0">
              <a:latin typeface="+mn-lt"/>
            </a:rPr>
            <a:t>Felles rammeavtaler </a:t>
          </a:r>
          <a:endParaRPr lang="en-US" sz="1600" kern="1200" dirty="0">
            <a:latin typeface="+mn-lt"/>
          </a:endParaRPr>
        </a:p>
      </dsp:txBody>
      <dsp:txXfrm>
        <a:off x="3105986" y="1656000"/>
        <a:ext cx="2362153" cy="1417292"/>
      </dsp:txXfrm>
    </dsp:sp>
    <dsp:sp modelId="{D0266254-C5BA-49BC-9242-F87F0AA25467}">
      <dsp:nvSpPr>
        <dsp:cNvPr id="0" name=""/>
        <dsp:cNvSpPr/>
      </dsp:nvSpPr>
      <dsp:spPr>
        <a:xfrm>
          <a:off x="5704355" y="1656000"/>
          <a:ext cx="2362153" cy="141729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400" b="0" kern="1200" dirty="0"/>
            <a:t>Finansierings-ordning</a:t>
          </a:r>
          <a:endParaRPr lang="en-US" sz="1600" kern="1200" dirty="0"/>
        </a:p>
      </dsp:txBody>
      <dsp:txXfrm>
        <a:off x="5704355" y="1656000"/>
        <a:ext cx="2362153" cy="1417292"/>
      </dsp:txXfrm>
    </dsp:sp>
    <dsp:sp modelId="{EB14715F-0924-4521-A6C6-4F113E1438D8}">
      <dsp:nvSpPr>
        <dsp:cNvPr id="0" name=""/>
        <dsp:cNvSpPr/>
      </dsp:nvSpPr>
      <dsp:spPr>
        <a:xfrm>
          <a:off x="8302724" y="1656000"/>
          <a:ext cx="2362153" cy="141729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400" kern="1200" dirty="0"/>
            <a:t>Velferds-teknologiens ABC</a:t>
          </a:r>
          <a:endParaRPr lang="en-US" sz="1600" kern="1200" dirty="0"/>
        </a:p>
      </dsp:txBody>
      <dsp:txXfrm>
        <a:off x="8302724" y="1656000"/>
        <a:ext cx="2362153" cy="1417292"/>
      </dsp:txXfrm>
    </dsp:sp>
    <dsp:sp modelId="{4839E9DE-CB99-4BEC-BEBF-1D14DE54BBF2}">
      <dsp:nvSpPr>
        <dsp:cNvPr id="0" name=""/>
        <dsp:cNvSpPr/>
      </dsp:nvSpPr>
      <dsp:spPr>
        <a:xfrm>
          <a:off x="3105986" y="3309507"/>
          <a:ext cx="2362153" cy="141729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400" kern="1200" dirty="0">
              <a:latin typeface="+mn-lt"/>
            </a:rPr>
            <a:t>Informasjons-materiell om velferdsteknologi </a:t>
          </a:r>
          <a:endParaRPr lang="en-US" sz="2400" kern="1200" dirty="0">
            <a:latin typeface="+mn-lt"/>
          </a:endParaRPr>
        </a:p>
      </dsp:txBody>
      <dsp:txXfrm>
        <a:off x="3105986" y="3309507"/>
        <a:ext cx="2362153" cy="1417292"/>
      </dsp:txXfrm>
    </dsp:sp>
    <dsp:sp modelId="{84710106-5C95-496F-BE68-BD2B7A9D12AF}">
      <dsp:nvSpPr>
        <dsp:cNvPr id="0" name=""/>
        <dsp:cNvSpPr/>
      </dsp:nvSpPr>
      <dsp:spPr>
        <a:xfrm>
          <a:off x="5704355" y="3309507"/>
          <a:ext cx="2362153" cy="141729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400" kern="1200" dirty="0">
              <a:latin typeface="Calibri"/>
            </a:rPr>
            <a:t>Forenklet</a:t>
          </a:r>
          <a:r>
            <a:rPr lang="nb-NO" sz="2400" kern="1200" dirty="0"/>
            <a:t> oversikt over juridisk spørsmål</a:t>
          </a:r>
          <a:endParaRPr lang="en-US" sz="2400" kern="1200" dirty="0"/>
        </a:p>
      </dsp:txBody>
      <dsp:txXfrm>
        <a:off x="5704355" y="3309507"/>
        <a:ext cx="2362153" cy="141729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4015" cy="4887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quarter" idx="1"/>
          </p:nvPr>
        </p:nvSpPr>
        <p:spPr>
          <a:xfrm>
            <a:off x="3809079" y="0"/>
            <a:ext cx="2914015" cy="4887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E6778F-9D10-D546-AD42-60AA27D9D64A}" type="datetimeFigureOut">
              <a:t>20.04.2026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2"/>
          </p:nvPr>
        </p:nvSpPr>
        <p:spPr>
          <a:xfrm>
            <a:off x="0" y="9283830"/>
            <a:ext cx="2914015" cy="488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3"/>
          </p:nvPr>
        </p:nvSpPr>
        <p:spPr>
          <a:xfrm>
            <a:off x="3809079" y="9283830"/>
            <a:ext cx="2914015" cy="488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85C552-36E2-FE4A-8959-3A7D73BFBA2A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108919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4015" cy="49040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09079" y="0"/>
            <a:ext cx="2914015" cy="49040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487B1A-E018-9140-85DB-7F1A8A38AAEE}" type="datetimeFigureOut">
              <a:rPr lang="nb-NO" smtClean="0"/>
              <a:t>20.04.2026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430213" y="1222375"/>
            <a:ext cx="5864225" cy="32988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72465" y="4703852"/>
            <a:ext cx="5379720" cy="384860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9283830"/>
            <a:ext cx="2914015" cy="4904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09079" y="9283830"/>
            <a:ext cx="2914015" cy="4904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436332-7825-CC4C-A5F0-67C79CB2EC7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398442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t"/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tte bildet kjenner dere – men det kan ikke gjentas for ofte. Dette er en av grafene i Kommunekommisjonens siste rapport. </a:t>
            </a:r>
            <a:b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nb-NO" sz="1200" b="0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fontAlgn="t"/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i går inn i en tid der:</a:t>
            </a:r>
          </a:p>
          <a:p>
            <a:pPr fontAlgn="t"/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tgiftene øker raskere enn inntektene</a:t>
            </a:r>
          </a:p>
          <a:p>
            <a:pPr fontAlgn="t"/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tall eldre over 80 år øker kraftig</a:t>
            </a:r>
          </a:p>
          <a:p>
            <a:pPr fontAlgn="t"/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tall barn og unge går ned i store deler av landet, også her i Innlandet</a:t>
            </a:r>
          </a:p>
          <a:p>
            <a:pPr fontAlgn="t"/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lere tjenester blir mer komplekse og personellkrevende</a:t>
            </a:r>
          </a:p>
          <a:p>
            <a:pPr fontAlgn="t"/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tte betyr at vi må endre måten vi jobber på. </a:t>
            </a:r>
          </a:p>
          <a:p>
            <a:endParaRPr lang="en-US">
              <a:ea typeface="Calibri"/>
              <a:cs typeface="Calibri"/>
            </a:endParaRPr>
          </a:p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436332-7825-CC4C-A5F0-67C79CB2EC7A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575107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7630FE-E575-B151-08BD-1F15B34D1B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17F848F-4E6E-CD0C-A4C7-6A5D3C1A611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D136761-0B38-6A67-BD8B-7179CAD4673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C6F28D-286A-D6B2-B677-8C32A126C35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5656CF-8A21-4EC8-AE07-7C231322CCF4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84393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Tillit til leverandører og markedet</a:t>
            </a:r>
          </a:p>
          <a:p>
            <a:r>
              <a:rPr lang="nb-NO" dirty="0"/>
              <a:t>Tillit til realisering av gevinster</a:t>
            </a:r>
          </a:p>
          <a:p>
            <a:r>
              <a:rPr lang="nb-NO" dirty="0"/>
              <a:t>Tillit til reelle effekter for innbygger og helsepersonell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DAB323-CC51-4E27-8727-199F926AAA3F}" type="slidenum">
              <a:rPr lang="nb-NO" smtClean="0"/>
              <a:t>3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356863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E0F2F0-0B31-2386-FDAA-7F880B8525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>
            <a:extLst>
              <a:ext uri="{FF2B5EF4-FFF2-40B4-BE49-F238E27FC236}">
                <a16:creationId xmlns:a16="http://schemas.microsoft.com/office/drawing/2014/main" id="{2F9CC309-AC65-706F-C5D7-7C3BF18F0D4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notater 2">
            <a:extLst>
              <a:ext uri="{FF2B5EF4-FFF2-40B4-BE49-F238E27FC236}">
                <a16:creationId xmlns:a16="http://schemas.microsoft.com/office/drawing/2014/main" id="{3572DA6D-8E54-3905-E901-4653BB379B2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EPJ-journalene er jo kommunenes fremste arbeidsverktøy. Nåsituasjonen oppleves som svært krevende – de er ikke gode nok, støtter ikke helsearbeiderne i hverdagen i tilstrekkelig grad. Ikke minst er det en utfordring at så lenge tilstanden er som den er – vil det også redusere nytte-effekten av nasjonale samhandlingsløsninger for kommunene.</a:t>
            </a:r>
          </a:p>
          <a:p>
            <a:r>
              <a:rPr lang="nb-NO"/>
              <a:t> – og KS arbeider, igjen med et tydelig oppdrag fra medlemmene forankret i sektorens politiske posisjoner – med et felles journalløft for kommunal sektor. Men her er vi HELT avhengige av et samarbeid med staten!</a:t>
            </a:r>
          </a:p>
          <a:p>
            <a:endParaRPr lang="nb-NO"/>
          </a:p>
          <a:p>
            <a:r>
              <a:rPr lang="nb-NO"/>
              <a:t>Enkelt sagt består programmet av to deler:</a:t>
            </a:r>
          </a:p>
          <a:p>
            <a:endParaRPr lang="nb-NO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Utprøving av samhandlingstjenester i kommunal sektor – som også spesialisthelsetjenesten vil nyte godt av. Her er vi veldig glade for oppdraget Norsk Helsenett har fått til dette!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Felles rammer og anbefalinger til kommunene i anskaffelsesarbeidet – slik at vi i større grad kan snakke med én stemme overfor leverandørmarkedet om hva som er viktigst for os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/>
          </a:p>
          <a:p>
            <a:pPr marL="0" indent="0">
              <a:buFont typeface="Arial" panose="020B0604020202020204" pitchFamily="34" charset="0"/>
              <a:buNone/>
            </a:pPr>
            <a:r>
              <a:rPr lang="nb-NO"/>
              <a:t>I dette arbeidet samarbeider vi med sentrale og store kommuner i alle landets fylker utenfor Midt-Norge, arbeidet er forankret opp til administrativ og politisk toppledelse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nb-NO"/>
          </a:p>
          <a:p>
            <a:pPr marL="0" indent="0">
              <a:buFont typeface="Arial" panose="020B0604020202020204" pitchFamily="34" charset="0"/>
              <a:buNone/>
            </a:pPr>
            <a:endParaRPr lang="nb-NO"/>
          </a:p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F8BAE139-FE5B-8110-FC0D-3549838FCF6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677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00B407-E7EF-46F6-A8B9-92CDEDE27CA8}" type="slidenum"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677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32287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436332-7825-CC4C-A5F0-67C79CB2EC7A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427005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AA73B2-8203-4A5F-AFA0-E1784F8A07CA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079110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C35E5E-663E-1FD6-C7E1-BE27A216CD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>
            <a:extLst>
              <a:ext uri="{FF2B5EF4-FFF2-40B4-BE49-F238E27FC236}">
                <a16:creationId xmlns:a16="http://schemas.microsoft.com/office/drawing/2014/main" id="{B9EFF0C9-66E5-0125-62A2-6A363936095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>
            <a:extLst>
              <a:ext uri="{FF2B5EF4-FFF2-40B4-BE49-F238E27FC236}">
                <a16:creationId xmlns:a16="http://schemas.microsoft.com/office/drawing/2014/main" id="{591A9FB5-5C5C-D4D8-6478-CFC89177EC2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b="1" dirty="0"/>
              <a:t>OBS! Vi tar alltid forbehold om at det er initiativ vi ikke kjenner til – her er det bevegelse fra dag til dag…</a:t>
            </a:r>
          </a:p>
          <a:p>
            <a:endParaRPr lang="nb-NO" b="1" dirty="0"/>
          </a:p>
          <a:p>
            <a:r>
              <a:rPr lang="nb-NO"/>
              <a:t>Fargekoder</a:t>
            </a:r>
            <a:r>
              <a:rPr lang="nb-NO" dirty="0"/>
              <a:t>: grønne rammer = ferdig</a:t>
            </a:r>
          </a:p>
          <a:p>
            <a:r>
              <a:rPr lang="nb-NO" dirty="0"/>
              <a:t>Lilla rammer = pågår</a:t>
            </a:r>
          </a:p>
          <a:p>
            <a:r>
              <a:rPr lang="nb-NO" dirty="0"/>
              <a:t>Røde rammer = forbereder konkurranse</a:t>
            </a: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4DEE0239-9743-0147-29E7-4FF791D5243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382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92FD10-4253-40F4-9418-C44B7EB6C30F}" type="slidenum"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13827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45558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B053AA-A4DD-1C8A-AC38-0961CBDCD1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E4600B5-DE76-FEFB-6DFD-C95270D2021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8D0D522-FF05-BAFD-B014-C3267E14C6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Antall uker: ca. 4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D6BEEA-3279-6C24-856C-B27B4E1AFE2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5656CF-8A21-4EC8-AE07-7C231322CCF4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68981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5656CF-8A21-4EC8-AE07-7C231322CCF4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7476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C763A3-FF7E-C3A5-B8A5-606FE66F9D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2C28142-E675-2819-B91A-BE372906477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0CCFDB7-EB3E-FF58-481B-D4694A5D6F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Hvordan gå videre? Må se på utfordringene først</a:t>
            </a:r>
          </a:p>
          <a:p>
            <a:endParaRPr lang="nb-NO"/>
          </a:p>
          <a:p>
            <a:r>
              <a:rPr lang="nb-NO"/>
              <a:t>NETTONYTTE</a:t>
            </a:r>
          </a:p>
          <a:p>
            <a:endParaRPr lang="nb-NO"/>
          </a:p>
          <a:p>
            <a:r>
              <a:rPr lang="nb-NO"/>
              <a:t>VERDI:</a:t>
            </a:r>
          </a:p>
          <a:p>
            <a:r>
              <a:rPr lang="nb-NO"/>
              <a:t>Talegjenkjenning</a:t>
            </a:r>
          </a:p>
          <a:p>
            <a:r>
              <a:rPr lang="nb-NO"/>
              <a:t>bemannings</a:t>
            </a:r>
          </a:p>
          <a:p>
            <a:endParaRPr lang="nb-NO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94CECE-B04A-76AE-0114-4458ABD1F85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5656CF-8A21-4EC8-AE07-7C231322CCF4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476867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5656CF-8A21-4EC8-AE07-7C231322CCF4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54490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3378200"/>
          </a:xfrm>
          <a:prstGeom prst="rect">
            <a:avLst/>
          </a:prstGeom>
          <a:solidFill>
            <a:srgbClr val="00104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10" name="Rektangel 9"/>
          <p:cNvSpPr/>
          <p:nvPr userDrawn="1"/>
        </p:nvSpPr>
        <p:spPr>
          <a:xfrm>
            <a:off x="10244667" y="5911850"/>
            <a:ext cx="1701800" cy="8191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11" name="Title 19"/>
          <p:cNvSpPr>
            <a:spLocks noGrp="1"/>
          </p:cNvSpPr>
          <p:nvPr>
            <p:ph type="ctrTitle"/>
          </p:nvPr>
        </p:nvSpPr>
        <p:spPr>
          <a:xfrm>
            <a:off x="664227" y="2196036"/>
            <a:ext cx="9915291" cy="466880"/>
          </a:xfrm>
        </p:spPr>
        <p:txBody>
          <a:bodyPr>
            <a:noAutofit/>
          </a:bodyPr>
          <a:lstStyle>
            <a:lvl1pPr algn="l">
              <a:defRPr sz="3800">
                <a:solidFill>
                  <a:srgbClr val="FFFFFF"/>
                </a:solidFill>
              </a:defRPr>
            </a:lvl1pPr>
          </a:lstStyle>
          <a:p>
            <a:endParaRPr lang="nb-NO"/>
          </a:p>
        </p:txBody>
      </p:sp>
      <p:sp>
        <p:nvSpPr>
          <p:cNvPr id="12" name="Subtitle 20"/>
          <p:cNvSpPr>
            <a:spLocks noGrp="1"/>
          </p:cNvSpPr>
          <p:nvPr>
            <p:ph type="subTitle" idx="1"/>
          </p:nvPr>
        </p:nvSpPr>
        <p:spPr>
          <a:xfrm>
            <a:off x="664227" y="2822895"/>
            <a:ext cx="8534400" cy="516192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200">
                <a:solidFill>
                  <a:srgbClr val="FFFFFF"/>
                </a:solidFill>
              </a:defRPr>
            </a:lvl1pPr>
          </a:lstStyle>
          <a:p>
            <a:endParaRPr lang="nb-NO"/>
          </a:p>
        </p:txBody>
      </p:sp>
      <p:pic>
        <p:nvPicPr>
          <p:cNvPr id="13" name="Bilde 12" descr="ks_hovedlogo_rgb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9138" y="463550"/>
            <a:ext cx="953397" cy="476250"/>
          </a:xfrm>
          <a:prstGeom prst="rect">
            <a:avLst/>
          </a:prstGeom>
        </p:spPr>
      </p:pic>
      <p:pic>
        <p:nvPicPr>
          <p:cNvPr id="14" name="Bilde 13" descr="KS tagline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6438" y="6159500"/>
            <a:ext cx="3137662" cy="287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589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20.04.2026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154994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20.04.2026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375753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20.04.2026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182128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20.04.2026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437242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20.04.2026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915407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5613400"/>
          </a:xfrm>
          <a:prstGeom prst="rect">
            <a:avLst/>
          </a:prstGeom>
          <a:solidFill>
            <a:srgbClr val="00104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8" name="Tittel 1"/>
          <p:cNvSpPr>
            <a:spLocks noGrp="1"/>
          </p:cNvSpPr>
          <p:nvPr>
            <p:ph type="ctrTitle"/>
          </p:nvPr>
        </p:nvSpPr>
        <p:spPr>
          <a:xfrm>
            <a:off x="664227" y="2196036"/>
            <a:ext cx="7493466" cy="1066928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36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5" descr="ks_hovedlogo_rgb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9138" y="463550"/>
            <a:ext cx="953397" cy="476250"/>
          </a:xfrm>
          <a:prstGeom prst="rect">
            <a:avLst/>
          </a:prstGeom>
        </p:spPr>
      </p:pic>
      <p:pic>
        <p:nvPicPr>
          <p:cNvPr id="9" name="Bilde 8" descr="kommunelenka.png"/>
          <p:cNvPicPr>
            <a:picLocks noChangeAspect="1"/>
          </p:cNvPicPr>
          <p:nvPr userDrawn="1"/>
        </p:nvPicPr>
        <p:blipFill>
          <a:blip r:embed="rId3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57693" y="1450325"/>
            <a:ext cx="5117920" cy="5079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94785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pit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5613400"/>
          </a:xfrm>
          <a:prstGeom prst="rect">
            <a:avLst/>
          </a:prstGeom>
          <a:solidFill>
            <a:srgbClr val="008CD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8" name="Tittel 1"/>
          <p:cNvSpPr>
            <a:spLocks noGrp="1"/>
          </p:cNvSpPr>
          <p:nvPr>
            <p:ph type="ctrTitle"/>
          </p:nvPr>
        </p:nvSpPr>
        <p:spPr>
          <a:xfrm>
            <a:off x="664227" y="2196036"/>
            <a:ext cx="7151487" cy="1230558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36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5" descr="ks_hovedlogo_rgb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9138" y="463550"/>
            <a:ext cx="953397" cy="476250"/>
          </a:xfrm>
          <a:prstGeom prst="rect">
            <a:avLst/>
          </a:prstGeom>
        </p:spPr>
      </p:pic>
      <p:pic>
        <p:nvPicPr>
          <p:cNvPr id="9" name="Bilde 8" descr="kommunelenka.png"/>
          <p:cNvPicPr>
            <a:picLocks noChangeAspect="1"/>
          </p:cNvPicPr>
          <p:nvPr userDrawn="1"/>
        </p:nvPicPr>
        <p:blipFill>
          <a:blip r:embed="rId3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57693" y="1450325"/>
            <a:ext cx="5117920" cy="5079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5956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apit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5613400"/>
          </a:xfrm>
          <a:prstGeom prst="rect">
            <a:avLst/>
          </a:prstGeom>
          <a:solidFill>
            <a:srgbClr val="BCCFE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8" name="Tittel 1"/>
          <p:cNvSpPr>
            <a:spLocks noGrp="1"/>
          </p:cNvSpPr>
          <p:nvPr>
            <p:ph type="ctrTitle"/>
          </p:nvPr>
        </p:nvSpPr>
        <p:spPr>
          <a:xfrm>
            <a:off x="664227" y="2196036"/>
            <a:ext cx="6756851" cy="1134305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3600">
                <a:solidFill>
                  <a:srgbClr val="001A58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5" descr="ks_hovedlogo_rgb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9138" y="463550"/>
            <a:ext cx="953397" cy="476250"/>
          </a:xfrm>
          <a:prstGeom prst="rect">
            <a:avLst/>
          </a:prstGeom>
        </p:spPr>
      </p:pic>
      <p:pic>
        <p:nvPicPr>
          <p:cNvPr id="9" name="Bilde 8" descr="kommunelenka.png"/>
          <p:cNvPicPr>
            <a:picLocks noChangeAspect="1"/>
          </p:cNvPicPr>
          <p:nvPr userDrawn="1"/>
        </p:nvPicPr>
        <p:blipFill>
          <a:blip r:embed="rId3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57693" y="1450325"/>
            <a:ext cx="5117920" cy="5079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64851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alternativ 12 - Tittel med låst bilde i bakgrunne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Bilde 17" descr="Et bilde som inneholder landskap, utendørs, sky, himmel&#10;&#10;Automatisk generert beskrivelse">
            <a:extLst>
              <a:ext uri="{FF2B5EF4-FFF2-40B4-BE49-F238E27FC236}">
                <a16:creationId xmlns:a16="http://schemas.microsoft.com/office/drawing/2014/main" id="{E18720B7-C93B-9266-0FAB-9A59BEC4D0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66860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CBD56C76-B0BD-750F-B291-17698DFD9A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3864" y="5841808"/>
            <a:ext cx="8378243" cy="522778"/>
          </a:xfrm>
        </p:spPr>
        <p:txBody>
          <a:bodyPr anchor="ctr"/>
          <a:lstStyle>
            <a:lvl1pPr>
              <a:defRPr sz="3200">
                <a:solidFill>
                  <a:schemeClr val="bg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0" name="Friform 9">
            <a:extLst>
              <a:ext uri="{FF2B5EF4-FFF2-40B4-BE49-F238E27FC236}">
                <a16:creationId xmlns:a16="http://schemas.microsoft.com/office/drawing/2014/main" id="{259DC104-B0AC-57D2-C307-BAA6E1594FD3}"/>
              </a:ext>
            </a:extLst>
          </p:cNvPr>
          <p:cNvSpPr/>
          <p:nvPr userDrawn="1"/>
        </p:nvSpPr>
        <p:spPr>
          <a:xfrm>
            <a:off x="9720499" y="5171165"/>
            <a:ext cx="2471501" cy="1695695"/>
          </a:xfrm>
          <a:custGeom>
            <a:avLst/>
            <a:gdLst>
              <a:gd name="connsiteX0" fmla="*/ 1495227 w 2471501"/>
              <a:gd name="connsiteY0" fmla="*/ 24 h 1695695"/>
              <a:gd name="connsiteX1" fmla="*/ 2289294 w 2471501"/>
              <a:gd name="connsiteY1" fmla="*/ 101800 h 1695695"/>
              <a:gd name="connsiteX2" fmla="*/ 2471501 w 2471501"/>
              <a:gd name="connsiteY2" fmla="*/ 151515 h 1695695"/>
              <a:gd name="connsiteX3" fmla="*/ 2471501 w 2471501"/>
              <a:gd name="connsiteY3" fmla="*/ 1695695 h 1695695"/>
              <a:gd name="connsiteX4" fmla="*/ 110413 w 2471501"/>
              <a:gd name="connsiteY4" fmla="*/ 1695695 h 1695695"/>
              <a:gd name="connsiteX5" fmla="*/ 62519 w 2471501"/>
              <a:gd name="connsiteY5" fmla="*/ 1604967 h 1695695"/>
              <a:gd name="connsiteX6" fmla="*/ 120454 w 2471501"/>
              <a:gd name="connsiteY6" fmla="*/ 711107 h 1695695"/>
              <a:gd name="connsiteX7" fmla="*/ 945644 w 2471501"/>
              <a:gd name="connsiteY7" fmla="*/ 64335 h 1695695"/>
              <a:gd name="connsiteX8" fmla="*/ 1495227 w 2471501"/>
              <a:gd name="connsiteY8" fmla="*/ 24 h 1695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71501" h="1695695">
                <a:moveTo>
                  <a:pt x="1495227" y="24"/>
                </a:moveTo>
                <a:cubicBezTo>
                  <a:pt x="1756170" y="1106"/>
                  <a:pt x="2031429" y="38864"/>
                  <a:pt x="2289294" y="101800"/>
                </a:cubicBezTo>
                <a:lnTo>
                  <a:pt x="2471501" y="151515"/>
                </a:lnTo>
                <a:lnTo>
                  <a:pt x="2471501" y="1695695"/>
                </a:lnTo>
                <a:lnTo>
                  <a:pt x="110413" y="1695695"/>
                </a:lnTo>
                <a:lnTo>
                  <a:pt x="62519" y="1604967"/>
                </a:lnTo>
                <a:cubicBezTo>
                  <a:pt x="-49081" y="1331915"/>
                  <a:pt x="113" y="951787"/>
                  <a:pt x="120454" y="711107"/>
                </a:cubicBezTo>
                <a:cubicBezTo>
                  <a:pt x="257986" y="436044"/>
                  <a:pt x="502384" y="185140"/>
                  <a:pt x="945644" y="64335"/>
                </a:cubicBezTo>
                <a:cubicBezTo>
                  <a:pt x="1111867" y="19033"/>
                  <a:pt x="1299520" y="-786"/>
                  <a:pt x="1495227" y="24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 noProof="0"/>
          </a:p>
        </p:txBody>
      </p:sp>
      <p:sp>
        <p:nvSpPr>
          <p:cNvPr id="12" name="Plassholder for tekst 8">
            <a:extLst>
              <a:ext uri="{FF2B5EF4-FFF2-40B4-BE49-F238E27FC236}">
                <a16:creationId xmlns:a16="http://schemas.microsoft.com/office/drawing/2014/main" id="{919B8A26-3AC9-B990-1F18-C3413905164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865" y="5475383"/>
            <a:ext cx="8378242" cy="36642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600">
                <a:solidFill>
                  <a:schemeClr val="bg2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pic>
        <p:nvPicPr>
          <p:cNvPr id="14" name="Bilde 13">
            <a:extLst>
              <a:ext uri="{FF2B5EF4-FFF2-40B4-BE49-F238E27FC236}">
                <a16:creationId xmlns:a16="http://schemas.microsoft.com/office/drawing/2014/main" id="{4757D01B-11C8-0157-D34F-A06B120622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29026" y="5816399"/>
            <a:ext cx="1401361" cy="707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066928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innhold og bilde alternativ 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bilde 5">
            <a:extLst>
              <a:ext uri="{FF2B5EF4-FFF2-40B4-BE49-F238E27FC236}">
                <a16:creationId xmlns:a16="http://schemas.microsoft.com/office/drawing/2014/main" id="{AD640D22-5D78-0B5B-99CA-8320E911215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54738" y="720725"/>
            <a:ext cx="5253398" cy="541655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nb-NO" noProof="0"/>
          </a:p>
        </p:txBody>
      </p:sp>
      <p:sp>
        <p:nvSpPr>
          <p:cNvPr id="6" name="Plassholder for tekst 11">
            <a:extLst>
              <a:ext uri="{FF2B5EF4-FFF2-40B4-BE49-F238E27FC236}">
                <a16:creationId xmlns:a16="http://schemas.microsoft.com/office/drawing/2014/main" id="{4B1D54AC-102D-9D2F-EB2B-0C4417E83E4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3864" y="1638677"/>
            <a:ext cx="5150536" cy="4498066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>
                <a:solidFill>
                  <a:schemeClr val="bg2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bg2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02172255-223F-A84F-81F6-B5D806DF88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3864" y="721256"/>
            <a:ext cx="5150536" cy="87516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44FAB1D-2955-D1FD-76F9-755BFB57681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nb-NO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5558FD9-83E8-898A-588C-D5EEBA883DB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1A45C82-4439-8848-AE67-A80D69C31A1D}" type="slidenum">
              <a:rPr lang="nb-NO" noProof="0" smtClean="0"/>
              <a:pPr/>
              <a:t>‹#›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12587401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ittel 1"/>
          <p:cNvSpPr>
            <a:spLocks noGrp="1"/>
          </p:cNvSpPr>
          <p:nvPr>
            <p:ph type="title"/>
          </p:nvPr>
        </p:nvSpPr>
        <p:spPr>
          <a:xfrm>
            <a:off x="609600" y="363546"/>
            <a:ext cx="10972800" cy="11321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1046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9600" y="617378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540C3D-7D2E-B046-9707-68B92A5A8B5C}" type="datetimeFigureOut">
              <a:t>20.04.2026</a:t>
            </a:fld>
            <a:endParaRPr lang="nb-NO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165600" y="617378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11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737601" y="6173788"/>
            <a:ext cx="1559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31872E-8BFC-214A-B7E1-4CF644173512}" type="slidenum">
              <a:t>‹#›</a:t>
            </a:fld>
            <a:endParaRPr lang="nb-NO"/>
          </a:p>
        </p:txBody>
      </p:sp>
      <p:sp>
        <p:nvSpPr>
          <p:cNvPr id="14" name="Plassholder for innhold 13"/>
          <p:cNvSpPr>
            <a:spLocks noGrp="1"/>
          </p:cNvSpPr>
          <p:nvPr>
            <p:ph sz="quarter" idx="10"/>
          </p:nvPr>
        </p:nvSpPr>
        <p:spPr>
          <a:xfrm>
            <a:off x="609601" y="1495660"/>
            <a:ext cx="10972800" cy="4414252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7440263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alternativ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Friform 55">
            <a:extLst>
              <a:ext uri="{FF2B5EF4-FFF2-40B4-BE49-F238E27FC236}">
                <a16:creationId xmlns:a16="http://schemas.microsoft.com/office/drawing/2014/main" id="{D49028FC-5A4E-FA98-236F-9DA78E94BCC0}"/>
              </a:ext>
            </a:extLst>
          </p:cNvPr>
          <p:cNvSpPr/>
          <p:nvPr userDrawn="1"/>
        </p:nvSpPr>
        <p:spPr>
          <a:xfrm rot="5400000">
            <a:off x="-72659" y="67680"/>
            <a:ext cx="2333673" cy="2188355"/>
          </a:xfrm>
          <a:custGeom>
            <a:avLst/>
            <a:gdLst>
              <a:gd name="connsiteX0" fmla="*/ 0 w 2333673"/>
              <a:gd name="connsiteY0" fmla="*/ 2188354 h 2188355"/>
              <a:gd name="connsiteX1" fmla="*/ 0 w 2333673"/>
              <a:gd name="connsiteY1" fmla="*/ 0 h 2188355"/>
              <a:gd name="connsiteX2" fmla="*/ 111356 w 2333673"/>
              <a:gd name="connsiteY2" fmla="*/ 6890 h 2188355"/>
              <a:gd name="connsiteX3" fmla="*/ 277638 w 2333673"/>
              <a:gd name="connsiteY3" fmla="*/ 47554 h 2188355"/>
              <a:gd name="connsiteX4" fmla="*/ 947166 w 2333673"/>
              <a:gd name="connsiteY4" fmla="*/ 1408838 h 2188355"/>
              <a:gd name="connsiteX5" fmla="*/ 2074902 w 2333673"/>
              <a:gd name="connsiteY5" fmla="*/ 1632377 h 2188355"/>
              <a:gd name="connsiteX6" fmla="*/ 2333673 w 2333673"/>
              <a:gd name="connsiteY6" fmla="*/ 2058550 h 2188355"/>
              <a:gd name="connsiteX7" fmla="*/ 2330792 w 2333673"/>
              <a:gd name="connsiteY7" fmla="*/ 2188355 h 2188355"/>
              <a:gd name="connsiteX8" fmla="*/ 0 w 2333673"/>
              <a:gd name="connsiteY8" fmla="*/ 2188354 h 2188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33673" h="2188355">
                <a:moveTo>
                  <a:pt x="0" y="2188354"/>
                </a:moveTo>
                <a:lnTo>
                  <a:pt x="0" y="0"/>
                </a:lnTo>
                <a:lnTo>
                  <a:pt x="111356" y="6890"/>
                </a:lnTo>
                <a:cubicBezTo>
                  <a:pt x="171086" y="14138"/>
                  <a:pt x="228739" y="26321"/>
                  <a:pt x="277638" y="47554"/>
                </a:cubicBezTo>
                <a:cubicBezTo>
                  <a:pt x="912338" y="343219"/>
                  <a:pt x="680464" y="1058566"/>
                  <a:pt x="947166" y="1408838"/>
                </a:cubicBezTo>
                <a:cubicBezTo>
                  <a:pt x="1206865" y="1771174"/>
                  <a:pt x="1713113" y="1445729"/>
                  <a:pt x="2074902" y="1632377"/>
                </a:cubicBezTo>
                <a:cubicBezTo>
                  <a:pt x="2146653" y="1683512"/>
                  <a:pt x="2316839" y="1779812"/>
                  <a:pt x="2333673" y="2058550"/>
                </a:cubicBezTo>
                <a:lnTo>
                  <a:pt x="2330792" y="2188355"/>
                </a:lnTo>
                <a:lnTo>
                  <a:pt x="0" y="2188354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 noProof="0"/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4ECD3978-25ED-C346-8B37-140D7B1026F3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783863" y="1656784"/>
            <a:ext cx="10624272" cy="447995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 noProof="0"/>
              <a:t>Klikk for å redigere tekst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</p:txBody>
      </p:sp>
      <p:sp>
        <p:nvSpPr>
          <p:cNvPr id="11" name="Tittel 10">
            <a:extLst>
              <a:ext uri="{FF2B5EF4-FFF2-40B4-BE49-F238E27FC236}">
                <a16:creationId xmlns:a16="http://schemas.microsoft.com/office/drawing/2014/main" id="{8B92B49C-26B8-455E-C854-97F11F1F8B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noProof="0"/>
              <a:t>Klikk for å redigere tittelsti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4910CA2-32E3-BBDE-437C-5AE1E9AC4E3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nb-NO" noProof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1327A51-A41D-50BC-8A76-2B03C2441A4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B1A45C82-4439-8848-AE67-A80D69C31A1D}" type="slidenum">
              <a:rPr lang="nb-NO" noProof="0" smtClean="0"/>
              <a:pPr/>
              <a:t>‹#›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18591099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innhold og bilde alternativ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iform 2">
            <a:extLst>
              <a:ext uri="{FF2B5EF4-FFF2-40B4-BE49-F238E27FC236}">
                <a16:creationId xmlns:a16="http://schemas.microsoft.com/office/drawing/2014/main" id="{E590A1F9-01F8-DD54-B57F-D0D691DE5DD3}"/>
              </a:ext>
            </a:extLst>
          </p:cNvPr>
          <p:cNvSpPr/>
          <p:nvPr userDrawn="1"/>
        </p:nvSpPr>
        <p:spPr>
          <a:xfrm rot="5400000">
            <a:off x="-72659" y="67680"/>
            <a:ext cx="2333673" cy="2188355"/>
          </a:xfrm>
          <a:custGeom>
            <a:avLst/>
            <a:gdLst>
              <a:gd name="connsiteX0" fmla="*/ 0 w 2333673"/>
              <a:gd name="connsiteY0" fmla="*/ 2188354 h 2188355"/>
              <a:gd name="connsiteX1" fmla="*/ 0 w 2333673"/>
              <a:gd name="connsiteY1" fmla="*/ 0 h 2188355"/>
              <a:gd name="connsiteX2" fmla="*/ 111356 w 2333673"/>
              <a:gd name="connsiteY2" fmla="*/ 6890 h 2188355"/>
              <a:gd name="connsiteX3" fmla="*/ 277638 w 2333673"/>
              <a:gd name="connsiteY3" fmla="*/ 47554 h 2188355"/>
              <a:gd name="connsiteX4" fmla="*/ 947166 w 2333673"/>
              <a:gd name="connsiteY4" fmla="*/ 1408838 h 2188355"/>
              <a:gd name="connsiteX5" fmla="*/ 2074902 w 2333673"/>
              <a:gd name="connsiteY5" fmla="*/ 1632377 h 2188355"/>
              <a:gd name="connsiteX6" fmla="*/ 2333673 w 2333673"/>
              <a:gd name="connsiteY6" fmla="*/ 2058550 h 2188355"/>
              <a:gd name="connsiteX7" fmla="*/ 2330792 w 2333673"/>
              <a:gd name="connsiteY7" fmla="*/ 2188355 h 2188355"/>
              <a:gd name="connsiteX8" fmla="*/ 0 w 2333673"/>
              <a:gd name="connsiteY8" fmla="*/ 2188354 h 2188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33673" h="2188355">
                <a:moveTo>
                  <a:pt x="0" y="2188354"/>
                </a:moveTo>
                <a:lnTo>
                  <a:pt x="0" y="0"/>
                </a:lnTo>
                <a:lnTo>
                  <a:pt x="111356" y="6890"/>
                </a:lnTo>
                <a:cubicBezTo>
                  <a:pt x="171086" y="14138"/>
                  <a:pt x="228739" y="26321"/>
                  <a:pt x="277638" y="47554"/>
                </a:cubicBezTo>
                <a:cubicBezTo>
                  <a:pt x="912338" y="343219"/>
                  <a:pt x="680464" y="1058566"/>
                  <a:pt x="947166" y="1408838"/>
                </a:cubicBezTo>
                <a:cubicBezTo>
                  <a:pt x="1206865" y="1771174"/>
                  <a:pt x="1713113" y="1445729"/>
                  <a:pt x="2074902" y="1632377"/>
                </a:cubicBezTo>
                <a:cubicBezTo>
                  <a:pt x="2146653" y="1683512"/>
                  <a:pt x="2316839" y="1779812"/>
                  <a:pt x="2333673" y="2058550"/>
                </a:cubicBezTo>
                <a:lnTo>
                  <a:pt x="2330792" y="2188355"/>
                </a:lnTo>
                <a:lnTo>
                  <a:pt x="0" y="2188354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 noProof="0"/>
          </a:p>
        </p:txBody>
      </p:sp>
      <p:sp>
        <p:nvSpPr>
          <p:cNvPr id="5" name="Plassholder for bilde 15">
            <a:extLst>
              <a:ext uri="{FF2B5EF4-FFF2-40B4-BE49-F238E27FC236}">
                <a16:creationId xmlns:a16="http://schemas.microsoft.com/office/drawing/2014/main" id="{274322E7-B082-0A4D-ADBF-832AB9BBA39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85095" y="-4382"/>
            <a:ext cx="6011597" cy="6592707"/>
          </a:xfrm>
          <a:custGeom>
            <a:avLst/>
            <a:gdLst>
              <a:gd name="connsiteX0" fmla="*/ 0 w 2428875"/>
              <a:gd name="connsiteY0" fmla="*/ 2040732 h 4081463"/>
              <a:gd name="connsiteX1" fmla="*/ 1214438 w 2428875"/>
              <a:gd name="connsiteY1" fmla="*/ 0 h 4081463"/>
              <a:gd name="connsiteX2" fmla="*/ 2428876 w 2428875"/>
              <a:gd name="connsiteY2" fmla="*/ 2040732 h 4081463"/>
              <a:gd name="connsiteX3" fmla="*/ 1214438 w 2428875"/>
              <a:gd name="connsiteY3" fmla="*/ 4081464 h 4081463"/>
              <a:gd name="connsiteX4" fmla="*/ 0 w 2428875"/>
              <a:gd name="connsiteY4" fmla="*/ 2040732 h 4081463"/>
              <a:gd name="connsiteX0" fmla="*/ 0 w 2439764"/>
              <a:gd name="connsiteY0" fmla="*/ 2179350 h 4220082"/>
              <a:gd name="connsiteX1" fmla="*/ 1214438 w 2439764"/>
              <a:gd name="connsiteY1" fmla="*/ 138618 h 4220082"/>
              <a:gd name="connsiteX2" fmla="*/ 1779173 w 2439764"/>
              <a:gd name="connsiteY2" fmla="*/ 403109 h 4220082"/>
              <a:gd name="connsiteX3" fmla="*/ 2428876 w 2439764"/>
              <a:gd name="connsiteY3" fmla="*/ 2179350 h 4220082"/>
              <a:gd name="connsiteX4" fmla="*/ 1214438 w 2439764"/>
              <a:gd name="connsiteY4" fmla="*/ 4220082 h 4220082"/>
              <a:gd name="connsiteX5" fmla="*/ 0 w 2439764"/>
              <a:gd name="connsiteY5" fmla="*/ 2179350 h 4220082"/>
              <a:gd name="connsiteX0" fmla="*/ 21577 w 2461341"/>
              <a:gd name="connsiteY0" fmla="*/ 2179350 h 4220082"/>
              <a:gd name="connsiteX1" fmla="*/ 515288 w 2461341"/>
              <a:gd name="connsiteY1" fmla="*/ 548882 h 4220082"/>
              <a:gd name="connsiteX2" fmla="*/ 1236015 w 2461341"/>
              <a:gd name="connsiteY2" fmla="*/ 138618 h 4220082"/>
              <a:gd name="connsiteX3" fmla="*/ 1800750 w 2461341"/>
              <a:gd name="connsiteY3" fmla="*/ 403109 h 4220082"/>
              <a:gd name="connsiteX4" fmla="*/ 2450453 w 2461341"/>
              <a:gd name="connsiteY4" fmla="*/ 2179350 h 4220082"/>
              <a:gd name="connsiteX5" fmla="*/ 1236015 w 2461341"/>
              <a:gd name="connsiteY5" fmla="*/ 4220082 h 4220082"/>
              <a:gd name="connsiteX6" fmla="*/ 21577 w 2461341"/>
              <a:gd name="connsiteY6" fmla="*/ 2179350 h 4220082"/>
              <a:gd name="connsiteX0" fmla="*/ 76978 w 2516742"/>
              <a:gd name="connsiteY0" fmla="*/ 2179350 h 4220082"/>
              <a:gd name="connsiteX1" fmla="*/ 173125 w 2516742"/>
              <a:gd name="connsiteY1" fmla="*/ 1264500 h 4220082"/>
              <a:gd name="connsiteX2" fmla="*/ 570689 w 2516742"/>
              <a:gd name="connsiteY2" fmla="*/ 548882 h 4220082"/>
              <a:gd name="connsiteX3" fmla="*/ 1291416 w 2516742"/>
              <a:gd name="connsiteY3" fmla="*/ 138618 h 4220082"/>
              <a:gd name="connsiteX4" fmla="*/ 1856151 w 2516742"/>
              <a:gd name="connsiteY4" fmla="*/ 403109 h 4220082"/>
              <a:gd name="connsiteX5" fmla="*/ 2505854 w 2516742"/>
              <a:gd name="connsiteY5" fmla="*/ 2179350 h 4220082"/>
              <a:gd name="connsiteX6" fmla="*/ 1291416 w 2516742"/>
              <a:gd name="connsiteY6" fmla="*/ 4220082 h 4220082"/>
              <a:gd name="connsiteX7" fmla="*/ 76978 w 2516742"/>
              <a:gd name="connsiteY7" fmla="*/ 2179350 h 4220082"/>
              <a:gd name="connsiteX0" fmla="*/ 76978 w 2516742"/>
              <a:gd name="connsiteY0" fmla="*/ 2179350 h 4227520"/>
              <a:gd name="connsiteX1" fmla="*/ 173125 w 2516742"/>
              <a:gd name="connsiteY1" fmla="*/ 1264500 h 4227520"/>
              <a:gd name="connsiteX2" fmla="*/ 570689 w 2516742"/>
              <a:gd name="connsiteY2" fmla="*/ 548882 h 4227520"/>
              <a:gd name="connsiteX3" fmla="*/ 1291416 w 2516742"/>
              <a:gd name="connsiteY3" fmla="*/ 138618 h 4227520"/>
              <a:gd name="connsiteX4" fmla="*/ 1856151 w 2516742"/>
              <a:gd name="connsiteY4" fmla="*/ 403109 h 4227520"/>
              <a:gd name="connsiteX5" fmla="*/ 2505854 w 2516742"/>
              <a:gd name="connsiteY5" fmla="*/ 2179350 h 4227520"/>
              <a:gd name="connsiteX6" fmla="*/ 1291416 w 2516742"/>
              <a:gd name="connsiteY6" fmla="*/ 4220082 h 4227520"/>
              <a:gd name="connsiteX7" fmla="*/ 120116 w 2516742"/>
              <a:gd name="connsiteY7" fmla="*/ 2841508 h 4227520"/>
              <a:gd name="connsiteX8" fmla="*/ 76978 w 2516742"/>
              <a:gd name="connsiteY8" fmla="*/ 2179350 h 4227520"/>
              <a:gd name="connsiteX0" fmla="*/ 76978 w 2512223"/>
              <a:gd name="connsiteY0" fmla="*/ 2179350 h 4222436"/>
              <a:gd name="connsiteX1" fmla="*/ 173125 w 2512223"/>
              <a:gd name="connsiteY1" fmla="*/ 1264500 h 4222436"/>
              <a:gd name="connsiteX2" fmla="*/ 570689 w 2512223"/>
              <a:gd name="connsiteY2" fmla="*/ 548882 h 4222436"/>
              <a:gd name="connsiteX3" fmla="*/ 1291416 w 2512223"/>
              <a:gd name="connsiteY3" fmla="*/ 138618 h 4222436"/>
              <a:gd name="connsiteX4" fmla="*/ 1856151 w 2512223"/>
              <a:gd name="connsiteY4" fmla="*/ 403109 h 4222436"/>
              <a:gd name="connsiteX5" fmla="*/ 2505854 w 2512223"/>
              <a:gd name="connsiteY5" fmla="*/ 2179350 h 4222436"/>
              <a:gd name="connsiteX6" fmla="*/ 2134447 w 2512223"/>
              <a:gd name="connsiteY6" fmla="*/ 3146308 h 4222436"/>
              <a:gd name="connsiteX7" fmla="*/ 1291416 w 2512223"/>
              <a:gd name="connsiteY7" fmla="*/ 4220082 h 4222436"/>
              <a:gd name="connsiteX8" fmla="*/ 120116 w 2512223"/>
              <a:gd name="connsiteY8" fmla="*/ 2841508 h 4222436"/>
              <a:gd name="connsiteX9" fmla="*/ 76978 w 2512223"/>
              <a:gd name="connsiteY9" fmla="*/ 2179350 h 4222436"/>
              <a:gd name="connsiteX0" fmla="*/ 76978 w 2505913"/>
              <a:gd name="connsiteY0" fmla="*/ 2179350 h 4222436"/>
              <a:gd name="connsiteX1" fmla="*/ 173125 w 2505913"/>
              <a:gd name="connsiteY1" fmla="*/ 1264500 h 4222436"/>
              <a:gd name="connsiteX2" fmla="*/ 570689 w 2505913"/>
              <a:gd name="connsiteY2" fmla="*/ 548882 h 4222436"/>
              <a:gd name="connsiteX3" fmla="*/ 1291416 w 2505913"/>
              <a:gd name="connsiteY3" fmla="*/ 138618 h 4222436"/>
              <a:gd name="connsiteX4" fmla="*/ 1856151 w 2505913"/>
              <a:gd name="connsiteY4" fmla="*/ 403109 h 4222436"/>
              <a:gd name="connsiteX5" fmla="*/ 2160952 w 2505913"/>
              <a:gd name="connsiteY5" fmla="*/ 1118726 h 4222436"/>
              <a:gd name="connsiteX6" fmla="*/ 2505854 w 2505913"/>
              <a:gd name="connsiteY6" fmla="*/ 2179350 h 4222436"/>
              <a:gd name="connsiteX7" fmla="*/ 2134447 w 2505913"/>
              <a:gd name="connsiteY7" fmla="*/ 3146308 h 4222436"/>
              <a:gd name="connsiteX8" fmla="*/ 1291416 w 2505913"/>
              <a:gd name="connsiteY8" fmla="*/ 4220082 h 4222436"/>
              <a:gd name="connsiteX9" fmla="*/ 120116 w 2505913"/>
              <a:gd name="connsiteY9" fmla="*/ 2841508 h 4222436"/>
              <a:gd name="connsiteX10" fmla="*/ 76978 w 2505913"/>
              <a:gd name="connsiteY10" fmla="*/ 2179350 h 4222436"/>
              <a:gd name="connsiteX0" fmla="*/ 76978 w 2505913"/>
              <a:gd name="connsiteY0" fmla="*/ 2179350 h 4226444"/>
              <a:gd name="connsiteX1" fmla="*/ 173125 w 2505913"/>
              <a:gd name="connsiteY1" fmla="*/ 1264500 h 4226444"/>
              <a:gd name="connsiteX2" fmla="*/ 570689 w 2505913"/>
              <a:gd name="connsiteY2" fmla="*/ 548882 h 4226444"/>
              <a:gd name="connsiteX3" fmla="*/ 1291416 w 2505913"/>
              <a:gd name="connsiteY3" fmla="*/ 138618 h 4226444"/>
              <a:gd name="connsiteX4" fmla="*/ 1856151 w 2505913"/>
              <a:gd name="connsiteY4" fmla="*/ 403109 h 4226444"/>
              <a:gd name="connsiteX5" fmla="*/ 2160952 w 2505913"/>
              <a:gd name="connsiteY5" fmla="*/ 1118726 h 4226444"/>
              <a:gd name="connsiteX6" fmla="*/ 2505854 w 2505913"/>
              <a:gd name="connsiteY6" fmla="*/ 2179350 h 4226444"/>
              <a:gd name="connsiteX7" fmla="*/ 2134447 w 2505913"/>
              <a:gd name="connsiteY7" fmla="*/ 3146308 h 4226444"/>
              <a:gd name="connsiteX8" fmla="*/ 1291416 w 2505913"/>
              <a:gd name="connsiteY8" fmla="*/ 4220082 h 4226444"/>
              <a:gd name="connsiteX9" fmla="*/ 597195 w 2505913"/>
              <a:gd name="connsiteY9" fmla="*/ 3557126 h 4226444"/>
              <a:gd name="connsiteX10" fmla="*/ 120116 w 2505913"/>
              <a:gd name="connsiteY10" fmla="*/ 2841508 h 4226444"/>
              <a:gd name="connsiteX11" fmla="*/ 76978 w 2505913"/>
              <a:gd name="connsiteY11" fmla="*/ 2179350 h 4226444"/>
              <a:gd name="connsiteX0" fmla="*/ 76978 w 2512713"/>
              <a:gd name="connsiteY0" fmla="*/ 2179350 h 4226444"/>
              <a:gd name="connsiteX1" fmla="*/ 173125 w 2512713"/>
              <a:gd name="connsiteY1" fmla="*/ 1264500 h 4226444"/>
              <a:gd name="connsiteX2" fmla="*/ 570689 w 2512713"/>
              <a:gd name="connsiteY2" fmla="*/ 548882 h 4226444"/>
              <a:gd name="connsiteX3" fmla="*/ 1291416 w 2512713"/>
              <a:gd name="connsiteY3" fmla="*/ 138618 h 4226444"/>
              <a:gd name="connsiteX4" fmla="*/ 1856151 w 2512713"/>
              <a:gd name="connsiteY4" fmla="*/ 403109 h 4226444"/>
              <a:gd name="connsiteX5" fmla="*/ 2160952 w 2512713"/>
              <a:gd name="connsiteY5" fmla="*/ 1118726 h 4226444"/>
              <a:gd name="connsiteX6" fmla="*/ 2359734 w 2512713"/>
              <a:gd name="connsiteY6" fmla="*/ 1648813 h 4226444"/>
              <a:gd name="connsiteX7" fmla="*/ 2505854 w 2512713"/>
              <a:gd name="connsiteY7" fmla="*/ 2179350 h 4226444"/>
              <a:gd name="connsiteX8" fmla="*/ 2134447 w 2512713"/>
              <a:gd name="connsiteY8" fmla="*/ 3146308 h 4226444"/>
              <a:gd name="connsiteX9" fmla="*/ 1291416 w 2512713"/>
              <a:gd name="connsiteY9" fmla="*/ 4220082 h 4226444"/>
              <a:gd name="connsiteX10" fmla="*/ 597195 w 2512713"/>
              <a:gd name="connsiteY10" fmla="*/ 3557126 h 4226444"/>
              <a:gd name="connsiteX11" fmla="*/ 120116 w 2512713"/>
              <a:gd name="connsiteY11" fmla="*/ 2841508 h 4226444"/>
              <a:gd name="connsiteX12" fmla="*/ 76978 w 2512713"/>
              <a:gd name="connsiteY12" fmla="*/ 2179350 h 4226444"/>
              <a:gd name="connsiteX0" fmla="*/ 76978 w 2512713"/>
              <a:gd name="connsiteY0" fmla="*/ 2671750 h 4718844"/>
              <a:gd name="connsiteX1" fmla="*/ 173125 w 2512713"/>
              <a:gd name="connsiteY1" fmla="*/ 1756900 h 4718844"/>
              <a:gd name="connsiteX2" fmla="*/ 93611 w 2512713"/>
              <a:gd name="connsiteY2" fmla="*/ 34117 h 4718844"/>
              <a:gd name="connsiteX3" fmla="*/ 1291416 w 2512713"/>
              <a:gd name="connsiteY3" fmla="*/ 631018 h 4718844"/>
              <a:gd name="connsiteX4" fmla="*/ 1856151 w 2512713"/>
              <a:gd name="connsiteY4" fmla="*/ 895509 h 4718844"/>
              <a:gd name="connsiteX5" fmla="*/ 2160952 w 2512713"/>
              <a:gd name="connsiteY5" fmla="*/ 1611126 h 4718844"/>
              <a:gd name="connsiteX6" fmla="*/ 2359734 w 2512713"/>
              <a:gd name="connsiteY6" fmla="*/ 2141213 h 4718844"/>
              <a:gd name="connsiteX7" fmla="*/ 2505854 w 2512713"/>
              <a:gd name="connsiteY7" fmla="*/ 2671750 h 4718844"/>
              <a:gd name="connsiteX8" fmla="*/ 2134447 w 2512713"/>
              <a:gd name="connsiteY8" fmla="*/ 3638708 h 4718844"/>
              <a:gd name="connsiteX9" fmla="*/ 1291416 w 2512713"/>
              <a:gd name="connsiteY9" fmla="*/ 4712482 h 4718844"/>
              <a:gd name="connsiteX10" fmla="*/ 597195 w 2512713"/>
              <a:gd name="connsiteY10" fmla="*/ 4049526 h 4718844"/>
              <a:gd name="connsiteX11" fmla="*/ 120116 w 2512713"/>
              <a:gd name="connsiteY11" fmla="*/ 3333908 h 4718844"/>
              <a:gd name="connsiteX12" fmla="*/ 76978 w 2512713"/>
              <a:gd name="connsiteY12" fmla="*/ 2671750 h 4718844"/>
              <a:gd name="connsiteX0" fmla="*/ 76978 w 2512713"/>
              <a:gd name="connsiteY0" fmla="*/ 2659731 h 4706825"/>
              <a:gd name="connsiteX1" fmla="*/ 173125 w 2512713"/>
              <a:gd name="connsiteY1" fmla="*/ 1744881 h 4706825"/>
              <a:gd name="connsiteX2" fmla="*/ 93611 w 2512713"/>
              <a:gd name="connsiteY2" fmla="*/ 22098 h 4706825"/>
              <a:gd name="connsiteX3" fmla="*/ 973363 w 2512713"/>
              <a:gd name="connsiteY3" fmla="*/ 1043069 h 4706825"/>
              <a:gd name="connsiteX4" fmla="*/ 1856151 w 2512713"/>
              <a:gd name="connsiteY4" fmla="*/ 883490 h 4706825"/>
              <a:gd name="connsiteX5" fmla="*/ 2160952 w 2512713"/>
              <a:gd name="connsiteY5" fmla="*/ 1599107 h 4706825"/>
              <a:gd name="connsiteX6" fmla="*/ 2359734 w 2512713"/>
              <a:gd name="connsiteY6" fmla="*/ 2129194 h 4706825"/>
              <a:gd name="connsiteX7" fmla="*/ 2505854 w 2512713"/>
              <a:gd name="connsiteY7" fmla="*/ 2659731 h 4706825"/>
              <a:gd name="connsiteX8" fmla="*/ 2134447 w 2512713"/>
              <a:gd name="connsiteY8" fmla="*/ 3626689 h 4706825"/>
              <a:gd name="connsiteX9" fmla="*/ 1291416 w 2512713"/>
              <a:gd name="connsiteY9" fmla="*/ 4700463 h 4706825"/>
              <a:gd name="connsiteX10" fmla="*/ 597195 w 2512713"/>
              <a:gd name="connsiteY10" fmla="*/ 4037507 h 4706825"/>
              <a:gd name="connsiteX11" fmla="*/ 120116 w 2512713"/>
              <a:gd name="connsiteY11" fmla="*/ 3321889 h 4706825"/>
              <a:gd name="connsiteX12" fmla="*/ 76978 w 2512713"/>
              <a:gd name="connsiteY12" fmla="*/ 2659731 h 4706825"/>
              <a:gd name="connsiteX0" fmla="*/ 76978 w 2512713"/>
              <a:gd name="connsiteY0" fmla="*/ 2665202 h 4712296"/>
              <a:gd name="connsiteX1" fmla="*/ 173125 w 2512713"/>
              <a:gd name="connsiteY1" fmla="*/ 1750352 h 4712296"/>
              <a:gd name="connsiteX2" fmla="*/ 93611 w 2512713"/>
              <a:gd name="connsiteY2" fmla="*/ 27569 h 4712296"/>
              <a:gd name="connsiteX3" fmla="*/ 1132389 w 2512713"/>
              <a:gd name="connsiteY3" fmla="*/ 810001 h 4712296"/>
              <a:gd name="connsiteX4" fmla="*/ 1856151 w 2512713"/>
              <a:gd name="connsiteY4" fmla="*/ 888961 h 4712296"/>
              <a:gd name="connsiteX5" fmla="*/ 2160952 w 2512713"/>
              <a:gd name="connsiteY5" fmla="*/ 1604578 h 4712296"/>
              <a:gd name="connsiteX6" fmla="*/ 2359734 w 2512713"/>
              <a:gd name="connsiteY6" fmla="*/ 2134665 h 4712296"/>
              <a:gd name="connsiteX7" fmla="*/ 2505854 w 2512713"/>
              <a:gd name="connsiteY7" fmla="*/ 2665202 h 4712296"/>
              <a:gd name="connsiteX8" fmla="*/ 2134447 w 2512713"/>
              <a:gd name="connsiteY8" fmla="*/ 3632160 h 4712296"/>
              <a:gd name="connsiteX9" fmla="*/ 1291416 w 2512713"/>
              <a:gd name="connsiteY9" fmla="*/ 4705934 h 4712296"/>
              <a:gd name="connsiteX10" fmla="*/ 597195 w 2512713"/>
              <a:gd name="connsiteY10" fmla="*/ 4042978 h 4712296"/>
              <a:gd name="connsiteX11" fmla="*/ 120116 w 2512713"/>
              <a:gd name="connsiteY11" fmla="*/ 3327360 h 4712296"/>
              <a:gd name="connsiteX12" fmla="*/ 76978 w 2512713"/>
              <a:gd name="connsiteY12" fmla="*/ 2665202 h 4712296"/>
              <a:gd name="connsiteX0" fmla="*/ 76978 w 2512713"/>
              <a:gd name="connsiteY0" fmla="*/ 2668372 h 4715466"/>
              <a:gd name="connsiteX1" fmla="*/ 173125 w 2512713"/>
              <a:gd name="connsiteY1" fmla="*/ 1753522 h 4715466"/>
              <a:gd name="connsiteX2" fmla="*/ 93611 w 2512713"/>
              <a:gd name="connsiteY2" fmla="*/ 30739 h 4715466"/>
              <a:gd name="connsiteX3" fmla="*/ 1132389 w 2512713"/>
              <a:gd name="connsiteY3" fmla="*/ 813171 h 4715466"/>
              <a:gd name="connsiteX4" fmla="*/ 1763385 w 2512713"/>
              <a:gd name="connsiteY4" fmla="*/ 1514983 h 4715466"/>
              <a:gd name="connsiteX5" fmla="*/ 2160952 w 2512713"/>
              <a:gd name="connsiteY5" fmla="*/ 1607748 h 4715466"/>
              <a:gd name="connsiteX6" fmla="*/ 2359734 w 2512713"/>
              <a:gd name="connsiteY6" fmla="*/ 2137835 h 4715466"/>
              <a:gd name="connsiteX7" fmla="*/ 2505854 w 2512713"/>
              <a:gd name="connsiteY7" fmla="*/ 2668372 h 4715466"/>
              <a:gd name="connsiteX8" fmla="*/ 2134447 w 2512713"/>
              <a:gd name="connsiteY8" fmla="*/ 3635330 h 4715466"/>
              <a:gd name="connsiteX9" fmla="*/ 1291416 w 2512713"/>
              <a:gd name="connsiteY9" fmla="*/ 4709104 h 4715466"/>
              <a:gd name="connsiteX10" fmla="*/ 597195 w 2512713"/>
              <a:gd name="connsiteY10" fmla="*/ 4046148 h 4715466"/>
              <a:gd name="connsiteX11" fmla="*/ 120116 w 2512713"/>
              <a:gd name="connsiteY11" fmla="*/ 3330530 h 4715466"/>
              <a:gd name="connsiteX12" fmla="*/ 76978 w 2512713"/>
              <a:gd name="connsiteY12" fmla="*/ 2668372 h 4715466"/>
              <a:gd name="connsiteX0" fmla="*/ 76978 w 2512713"/>
              <a:gd name="connsiteY0" fmla="*/ 2667571 h 4714665"/>
              <a:gd name="connsiteX1" fmla="*/ 173125 w 2512713"/>
              <a:gd name="connsiteY1" fmla="*/ 1752721 h 4714665"/>
              <a:gd name="connsiteX2" fmla="*/ 93611 w 2512713"/>
              <a:gd name="connsiteY2" fmla="*/ 29938 h 4714665"/>
              <a:gd name="connsiteX3" fmla="*/ 1132389 w 2512713"/>
              <a:gd name="connsiteY3" fmla="*/ 812370 h 4714665"/>
              <a:gd name="connsiteX4" fmla="*/ 1657368 w 2512713"/>
              <a:gd name="connsiteY4" fmla="*/ 1368408 h 4714665"/>
              <a:gd name="connsiteX5" fmla="*/ 2160952 w 2512713"/>
              <a:gd name="connsiteY5" fmla="*/ 1606947 h 4714665"/>
              <a:gd name="connsiteX6" fmla="*/ 2359734 w 2512713"/>
              <a:gd name="connsiteY6" fmla="*/ 2137034 h 4714665"/>
              <a:gd name="connsiteX7" fmla="*/ 2505854 w 2512713"/>
              <a:gd name="connsiteY7" fmla="*/ 2667571 h 4714665"/>
              <a:gd name="connsiteX8" fmla="*/ 2134447 w 2512713"/>
              <a:gd name="connsiteY8" fmla="*/ 3634529 h 4714665"/>
              <a:gd name="connsiteX9" fmla="*/ 1291416 w 2512713"/>
              <a:gd name="connsiteY9" fmla="*/ 4708303 h 4714665"/>
              <a:gd name="connsiteX10" fmla="*/ 597195 w 2512713"/>
              <a:gd name="connsiteY10" fmla="*/ 4045347 h 4714665"/>
              <a:gd name="connsiteX11" fmla="*/ 120116 w 2512713"/>
              <a:gd name="connsiteY11" fmla="*/ 3329729 h 4714665"/>
              <a:gd name="connsiteX12" fmla="*/ 76978 w 2512713"/>
              <a:gd name="connsiteY12" fmla="*/ 2667571 h 4714665"/>
              <a:gd name="connsiteX0" fmla="*/ 76978 w 2649170"/>
              <a:gd name="connsiteY0" fmla="*/ 2667571 h 4714665"/>
              <a:gd name="connsiteX1" fmla="*/ 173125 w 2649170"/>
              <a:gd name="connsiteY1" fmla="*/ 1752721 h 4714665"/>
              <a:gd name="connsiteX2" fmla="*/ 93611 w 2649170"/>
              <a:gd name="connsiteY2" fmla="*/ 29938 h 4714665"/>
              <a:gd name="connsiteX3" fmla="*/ 1132389 w 2649170"/>
              <a:gd name="connsiteY3" fmla="*/ 812370 h 4714665"/>
              <a:gd name="connsiteX4" fmla="*/ 1657368 w 2649170"/>
              <a:gd name="connsiteY4" fmla="*/ 1368408 h 4714665"/>
              <a:gd name="connsiteX5" fmla="*/ 2638030 w 2649170"/>
              <a:gd name="connsiteY5" fmla="*/ 1699712 h 4714665"/>
              <a:gd name="connsiteX6" fmla="*/ 2359734 w 2649170"/>
              <a:gd name="connsiteY6" fmla="*/ 2137034 h 4714665"/>
              <a:gd name="connsiteX7" fmla="*/ 2505854 w 2649170"/>
              <a:gd name="connsiteY7" fmla="*/ 2667571 h 4714665"/>
              <a:gd name="connsiteX8" fmla="*/ 2134447 w 2649170"/>
              <a:gd name="connsiteY8" fmla="*/ 3634529 h 4714665"/>
              <a:gd name="connsiteX9" fmla="*/ 1291416 w 2649170"/>
              <a:gd name="connsiteY9" fmla="*/ 4708303 h 4714665"/>
              <a:gd name="connsiteX10" fmla="*/ 597195 w 2649170"/>
              <a:gd name="connsiteY10" fmla="*/ 4045347 h 4714665"/>
              <a:gd name="connsiteX11" fmla="*/ 120116 w 2649170"/>
              <a:gd name="connsiteY11" fmla="*/ 3329729 h 4714665"/>
              <a:gd name="connsiteX12" fmla="*/ 76978 w 2649170"/>
              <a:gd name="connsiteY12" fmla="*/ 2667571 h 4714665"/>
              <a:gd name="connsiteX0" fmla="*/ 76978 w 2649170"/>
              <a:gd name="connsiteY0" fmla="*/ 2667219 h 4714313"/>
              <a:gd name="connsiteX1" fmla="*/ 173125 w 2649170"/>
              <a:gd name="connsiteY1" fmla="*/ 1752369 h 4714313"/>
              <a:gd name="connsiteX2" fmla="*/ 93611 w 2649170"/>
              <a:gd name="connsiteY2" fmla="*/ 29586 h 4714313"/>
              <a:gd name="connsiteX3" fmla="*/ 1132389 w 2649170"/>
              <a:gd name="connsiteY3" fmla="*/ 812018 h 4714313"/>
              <a:gd name="connsiteX4" fmla="*/ 1710376 w 2649170"/>
              <a:gd name="connsiteY4" fmla="*/ 1301795 h 4714313"/>
              <a:gd name="connsiteX5" fmla="*/ 2638030 w 2649170"/>
              <a:gd name="connsiteY5" fmla="*/ 1699360 h 4714313"/>
              <a:gd name="connsiteX6" fmla="*/ 2359734 w 2649170"/>
              <a:gd name="connsiteY6" fmla="*/ 2136682 h 4714313"/>
              <a:gd name="connsiteX7" fmla="*/ 2505854 w 2649170"/>
              <a:gd name="connsiteY7" fmla="*/ 2667219 h 4714313"/>
              <a:gd name="connsiteX8" fmla="*/ 2134447 w 2649170"/>
              <a:gd name="connsiteY8" fmla="*/ 3634177 h 4714313"/>
              <a:gd name="connsiteX9" fmla="*/ 1291416 w 2649170"/>
              <a:gd name="connsiteY9" fmla="*/ 4707951 h 4714313"/>
              <a:gd name="connsiteX10" fmla="*/ 597195 w 2649170"/>
              <a:gd name="connsiteY10" fmla="*/ 4044995 h 4714313"/>
              <a:gd name="connsiteX11" fmla="*/ 120116 w 2649170"/>
              <a:gd name="connsiteY11" fmla="*/ 3329377 h 4714313"/>
              <a:gd name="connsiteX12" fmla="*/ 76978 w 2649170"/>
              <a:gd name="connsiteY12" fmla="*/ 2667219 h 4714313"/>
              <a:gd name="connsiteX0" fmla="*/ 76978 w 3105639"/>
              <a:gd name="connsiteY0" fmla="*/ 2667219 h 4714313"/>
              <a:gd name="connsiteX1" fmla="*/ 173125 w 3105639"/>
              <a:gd name="connsiteY1" fmla="*/ 1752369 h 4714313"/>
              <a:gd name="connsiteX2" fmla="*/ 93611 w 3105639"/>
              <a:gd name="connsiteY2" fmla="*/ 29586 h 4714313"/>
              <a:gd name="connsiteX3" fmla="*/ 1132389 w 3105639"/>
              <a:gd name="connsiteY3" fmla="*/ 812018 h 4714313"/>
              <a:gd name="connsiteX4" fmla="*/ 1710376 w 3105639"/>
              <a:gd name="connsiteY4" fmla="*/ 1301795 h 4714313"/>
              <a:gd name="connsiteX5" fmla="*/ 2638030 w 3105639"/>
              <a:gd name="connsiteY5" fmla="*/ 1699360 h 4714313"/>
              <a:gd name="connsiteX6" fmla="*/ 3101856 w 3105639"/>
              <a:gd name="connsiteY6" fmla="*/ 2507743 h 4714313"/>
              <a:gd name="connsiteX7" fmla="*/ 2505854 w 3105639"/>
              <a:gd name="connsiteY7" fmla="*/ 2667219 h 4714313"/>
              <a:gd name="connsiteX8" fmla="*/ 2134447 w 3105639"/>
              <a:gd name="connsiteY8" fmla="*/ 3634177 h 4714313"/>
              <a:gd name="connsiteX9" fmla="*/ 1291416 w 3105639"/>
              <a:gd name="connsiteY9" fmla="*/ 4707951 h 4714313"/>
              <a:gd name="connsiteX10" fmla="*/ 597195 w 3105639"/>
              <a:gd name="connsiteY10" fmla="*/ 4044995 h 4714313"/>
              <a:gd name="connsiteX11" fmla="*/ 120116 w 3105639"/>
              <a:gd name="connsiteY11" fmla="*/ 3329377 h 4714313"/>
              <a:gd name="connsiteX12" fmla="*/ 76978 w 3105639"/>
              <a:gd name="connsiteY12" fmla="*/ 2667219 h 4714313"/>
              <a:gd name="connsiteX0" fmla="*/ 76978 w 3779612"/>
              <a:gd name="connsiteY0" fmla="*/ 2667219 h 4714313"/>
              <a:gd name="connsiteX1" fmla="*/ 173125 w 3779612"/>
              <a:gd name="connsiteY1" fmla="*/ 1752369 h 4714313"/>
              <a:gd name="connsiteX2" fmla="*/ 93611 w 3779612"/>
              <a:gd name="connsiteY2" fmla="*/ 29586 h 4714313"/>
              <a:gd name="connsiteX3" fmla="*/ 1132389 w 3779612"/>
              <a:gd name="connsiteY3" fmla="*/ 812018 h 4714313"/>
              <a:gd name="connsiteX4" fmla="*/ 1710376 w 3779612"/>
              <a:gd name="connsiteY4" fmla="*/ 1301795 h 4714313"/>
              <a:gd name="connsiteX5" fmla="*/ 2638030 w 3779612"/>
              <a:gd name="connsiteY5" fmla="*/ 1699360 h 4714313"/>
              <a:gd name="connsiteX6" fmla="*/ 3101856 w 3779612"/>
              <a:gd name="connsiteY6" fmla="*/ 2507743 h 4714313"/>
              <a:gd name="connsiteX7" fmla="*/ 3778062 w 3779612"/>
              <a:gd name="connsiteY7" fmla="*/ 3462349 h 4714313"/>
              <a:gd name="connsiteX8" fmla="*/ 2134447 w 3779612"/>
              <a:gd name="connsiteY8" fmla="*/ 3634177 h 4714313"/>
              <a:gd name="connsiteX9" fmla="*/ 1291416 w 3779612"/>
              <a:gd name="connsiteY9" fmla="*/ 4707951 h 4714313"/>
              <a:gd name="connsiteX10" fmla="*/ 597195 w 3779612"/>
              <a:gd name="connsiteY10" fmla="*/ 4044995 h 4714313"/>
              <a:gd name="connsiteX11" fmla="*/ 120116 w 3779612"/>
              <a:gd name="connsiteY11" fmla="*/ 3329377 h 4714313"/>
              <a:gd name="connsiteX12" fmla="*/ 76978 w 3779612"/>
              <a:gd name="connsiteY12" fmla="*/ 2667219 h 4714313"/>
              <a:gd name="connsiteX0" fmla="*/ 76978 w 3779612"/>
              <a:gd name="connsiteY0" fmla="*/ 2667219 h 4726185"/>
              <a:gd name="connsiteX1" fmla="*/ 173125 w 3779612"/>
              <a:gd name="connsiteY1" fmla="*/ 1752369 h 4726185"/>
              <a:gd name="connsiteX2" fmla="*/ 93611 w 3779612"/>
              <a:gd name="connsiteY2" fmla="*/ 29586 h 4726185"/>
              <a:gd name="connsiteX3" fmla="*/ 1132389 w 3779612"/>
              <a:gd name="connsiteY3" fmla="*/ 812018 h 4726185"/>
              <a:gd name="connsiteX4" fmla="*/ 1710376 w 3779612"/>
              <a:gd name="connsiteY4" fmla="*/ 1301795 h 4726185"/>
              <a:gd name="connsiteX5" fmla="*/ 2638030 w 3779612"/>
              <a:gd name="connsiteY5" fmla="*/ 1699360 h 4726185"/>
              <a:gd name="connsiteX6" fmla="*/ 3101856 w 3779612"/>
              <a:gd name="connsiteY6" fmla="*/ 2507743 h 4726185"/>
              <a:gd name="connsiteX7" fmla="*/ 3778062 w 3779612"/>
              <a:gd name="connsiteY7" fmla="*/ 3462349 h 4726185"/>
              <a:gd name="connsiteX8" fmla="*/ 2001925 w 3779612"/>
              <a:gd name="connsiteY8" fmla="*/ 3289621 h 4726185"/>
              <a:gd name="connsiteX9" fmla="*/ 1291416 w 3779612"/>
              <a:gd name="connsiteY9" fmla="*/ 4707951 h 4726185"/>
              <a:gd name="connsiteX10" fmla="*/ 597195 w 3779612"/>
              <a:gd name="connsiteY10" fmla="*/ 4044995 h 4726185"/>
              <a:gd name="connsiteX11" fmla="*/ 120116 w 3779612"/>
              <a:gd name="connsiteY11" fmla="*/ 3329377 h 4726185"/>
              <a:gd name="connsiteX12" fmla="*/ 76978 w 3779612"/>
              <a:gd name="connsiteY12" fmla="*/ 2667219 h 4726185"/>
              <a:gd name="connsiteX0" fmla="*/ 76978 w 3779612"/>
              <a:gd name="connsiteY0" fmla="*/ 2667219 h 4724093"/>
              <a:gd name="connsiteX1" fmla="*/ 173125 w 3779612"/>
              <a:gd name="connsiteY1" fmla="*/ 1752369 h 4724093"/>
              <a:gd name="connsiteX2" fmla="*/ 93611 w 3779612"/>
              <a:gd name="connsiteY2" fmla="*/ 29586 h 4724093"/>
              <a:gd name="connsiteX3" fmla="*/ 1132389 w 3779612"/>
              <a:gd name="connsiteY3" fmla="*/ 812018 h 4724093"/>
              <a:gd name="connsiteX4" fmla="*/ 1710376 w 3779612"/>
              <a:gd name="connsiteY4" fmla="*/ 1301795 h 4724093"/>
              <a:gd name="connsiteX5" fmla="*/ 2638030 w 3779612"/>
              <a:gd name="connsiteY5" fmla="*/ 1699360 h 4724093"/>
              <a:gd name="connsiteX6" fmla="*/ 3101856 w 3779612"/>
              <a:gd name="connsiteY6" fmla="*/ 2507743 h 4724093"/>
              <a:gd name="connsiteX7" fmla="*/ 3778062 w 3779612"/>
              <a:gd name="connsiteY7" fmla="*/ 3462349 h 4724093"/>
              <a:gd name="connsiteX8" fmla="*/ 2200708 w 3779612"/>
              <a:gd name="connsiteY8" fmla="*/ 3342629 h 4724093"/>
              <a:gd name="connsiteX9" fmla="*/ 1291416 w 3779612"/>
              <a:gd name="connsiteY9" fmla="*/ 4707951 h 4724093"/>
              <a:gd name="connsiteX10" fmla="*/ 597195 w 3779612"/>
              <a:gd name="connsiteY10" fmla="*/ 4044995 h 4724093"/>
              <a:gd name="connsiteX11" fmla="*/ 120116 w 3779612"/>
              <a:gd name="connsiteY11" fmla="*/ 3329377 h 4724093"/>
              <a:gd name="connsiteX12" fmla="*/ 76978 w 3779612"/>
              <a:gd name="connsiteY12" fmla="*/ 2667219 h 4724093"/>
              <a:gd name="connsiteX0" fmla="*/ 202713 w 3905347"/>
              <a:gd name="connsiteY0" fmla="*/ 2667219 h 5217062"/>
              <a:gd name="connsiteX1" fmla="*/ 298860 w 3905347"/>
              <a:gd name="connsiteY1" fmla="*/ 1752369 h 5217062"/>
              <a:gd name="connsiteX2" fmla="*/ 219346 w 3905347"/>
              <a:gd name="connsiteY2" fmla="*/ 29586 h 5217062"/>
              <a:gd name="connsiteX3" fmla="*/ 1258124 w 3905347"/>
              <a:gd name="connsiteY3" fmla="*/ 812018 h 5217062"/>
              <a:gd name="connsiteX4" fmla="*/ 1836111 w 3905347"/>
              <a:gd name="connsiteY4" fmla="*/ 1301795 h 5217062"/>
              <a:gd name="connsiteX5" fmla="*/ 2763765 w 3905347"/>
              <a:gd name="connsiteY5" fmla="*/ 1699360 h 5217062"/>
              <a:gd name="connsiteX6" fmla="*/ 3227591 w 3905347"/>
              <a:gd name="connsiteY6" fmla="*/ 2507743 h 5217062"/>
              <a:gd name="connsiteX7" fmla="*/ 3903797 w 3905347"/>
              <a:gd name="connsiteY7" fmla="*/ 3462349 h 5217062"/>
              <a:gd name="connsiteX8" fmla="*/ 2326443 w 3905347"/>
              <a:gd name="connsiteY8" fmla="*/ 3342629 h 5217062"/>
              <a:gd name="connsiteX9" fmla="*/ 1417151 w 3905347"/>
              <a:gd name="connsiteY9" fmla="*/ 4707951 h 5217062"/>
              <a:gd name="connsiteX10" fmla="*/ 47069 w 3905347"/>
              <a:gd name="connsiteY10" fmla="*/ 5144925 h 5217062"/>
              <a:gd name="connsiteX11" fmla="*/ 245851 w 3905347"/>
              <a:gd name="connsiteY11" fmla="*/ 3329377 h 5217062"/>
              <a:gd name="connsiteX12" fmla="*/ 202713 w 3905347"/>
              <a:gd name="connsiteY12" fmla="*/ 2667219 h 5217062"/>
              <a:gd name="connsiteX0" fmla="*/ 861597 w 4564231"/>
              <a:gd name="connsiteY0" fmla="*/ 2667219 h 5217062"/>
              <a:gd name="connsiteX1" fmla="*/ 957744 w 4564231"/>
              <a:gd name="connsiteY1" fmla="*/ 1752369 h 5217062"/>
              <a:gd name="connsiteX2" fmla="*/ 878230 w 4564231"/>
              <a:gd name="connsiteY2" fmla="*/ 29586 h 5217062"/>
              <a:gd name="connsiteX3" fmla="*/ 1917008 w 4564231"/>
              <a:gd name="connsiteY3" fmla="*/ 812018 h 5217062"/>
              <a:gd name="connsiteX4" fmla="*/ 2494995 w 4564231"/>
              <a:gd name="connsiteY4" fmla="*/ 1301795 h 5217062"/>
              <a:gd name="connsiteX5" fmla="*/ 3422649 w 4564231"/>
              <a:gd name="connsiteY5" fmla="*/ 1699360 h 5217062"/>
              <a:gd name="connsiteX6" fmla="*/ 3886475 w 4564231"/>
              <a:gd name="connsiteY6" fmla="*/ 2507743 h 5217062"/>
              <a:gd name="connsiteX7" fmla="*/ 4562681 w 4564231"/>
              <a:gd name="connsiteY7" fmla="*/ 3462349 h 5217062"/>
              <a:gd name="connsiteX8" fmla="*/ 2985327 w 4564231"/>
              <a:gd name="connsiteY8" fmla="*/ 3342629 h 5217062"/>
              <a:gd name="connsiteX9" fmla="*/ 2076035 w 4564231"/>
              <a:gd name="connsiteY9" fmla="*/ 4707951 h 5217062"/>
              <a:gd name="connsiteX10" fmla="*/ 705953 w 4564231"/>
              <a:gd name="connsiteY10" fmla="*/ 5144925 h 5217062"/>
              <a:gd name="connsiteX11" fmla="*/ 30091 w 4564231"/>
              <a:gd name="connsiteY11" fmla="*/ 4243777 h 5217062"/>
              <a:gd name="connsiteX12" fmla="*/ 861597 w 4564231"/>
              <a:gd name="connsiteY12" fmla="*/ 2667219 h 5217062"/>
              <a:gd name="connsiteX0" fmla="*/ 374612 w 4594080"/>
              <a:gd name="connsiteY0" fmla="*/ 3250314 h 5217062"/>
              <a:gd name="connsiteX1" fmla="*/ 987593 w 4594080"/>
              <a:gd name="connsiteY1" fmla="*/ 1752369 h 5217062"/>
              <a:gd name="connsiteX2" fmla="*/ 908079 w 4594080"/>
              <a:gd name="connsiteY2" fmla="*/ 29586 h 5217062"/>
              <a:gd name="connsiteX3" fmla="*/ 1946857 w 4594080"/>
              <a:gd name="connsiteY3" fmla="*/ 812018 h 5217062"/>
              <a:gd name="connsiteX4" fmla="*/ 2524844 w 4594080"/>
              <a:gd name="connsiteY4" fmla="*/ 1301795 h 5217062"/>
              <a:gd name="connsiteX5" fmla="*/ 3452498 w 4594080"/>
              <a:gd name="connsiteY5" fmla="*/ 1699360 h 5217062"/>
              <a:gd name="connsiteX6" fmla="*/ 3916324 w 4594080"/>
              <a:gd name="connsiteY6" fmla="*/ 2507743 h 5217062"/>
              <a:gd name="connsiteX7" fmla="*/ 4592530 w 4594080"/>
              <a:gd name="connsiteY7" fmla="*/ 3462349 h 5217062"/>
              <a:gd name="connsiteX8" fmla="*/ 3015176 w 4594080"/>
              <a:gd name="connsiteY8" fmla="*/ 3342629 h 5217062"/>
              <a:gd name="connsiteX9" fmla="*/ 2105884 w 4594080"/>
              <a:gd name="connsiteY9" fmla="*/ 4707951 h 5217062"/>
              <a:gd name="connsiteX10" fmla="*/ 735802 w 4594080"/>
              <a:gd name="connsiteY10" fmla="*/ 5144925 h 5217062"/>
              <a:gd name="connsiteX11" fmla="*/ 59940 w 4594080"/>
              <a:gd name="connsiteY11" fmla="*/ 4243777 h 5217062"/>
              <a:gd name="connsiteX12" fmla="*/ 374612 w 4594080"/>
              <a:gd name="connsiteY12" fmla="*/ 3250314 h 5217062"/>
              <a:gd name="connsiteX0" fmla="*/ 362873 w 4582341"/>
              <a:gd name="connsiteY0" fmla="*/ 3250314 h 5217062"/>
              <a:gd name="connsiteX1" fmla="*/ 154220 w 4582341"/>
              <a:gd name="connsiteY1" fmla="*/ 2322213 h 5217062"/>
              <a:gd name="connsiteX2" fmla="*/ 896340 w 4582341"/>
              <a:gd name="connsiteY2" fmla="*/ 29586 h 5217062"/>
              <a:gd name="connsiteX3" fmla="*/ 1935118 w 4582341"/>
              <a:gd name="connsiteY3" fmla="*/ 812018 h 5217062"/>
              <a:gd name="connsiteX4" fmla="*/ 2513105 w 4582341"/>
              <a:gd name="connsiteY4" fmla="*/ 1301795 h 5217062"/>
              <a:gd name="connsiteX5" fmla="*/ 3440759 w 4582341"/>
              <a:gd name="connsiteY5" fmla="*/ 1699360 h 5217062"/>
              <a:gd name="connsiteX6" fmla="*/ 3904585 w 4582341"/>
              <a:gd name="connsiteY6" fmla="*/ 2507743 h 5217062"/>
              <a:gd name="connsiteX7" fmla="*/ 4580791 w 4582341"/>
              <a:gd name="connsiteY7" fmla="*/ 3462349 h 5217062"/>
              <a:gd name="connsiteX8" fmla="*/ 3003437 w 4582341"/>
              <a:gd name="connsiteY8" fmla="*/ 3342629 h 5217062"/>
              <a:gd name="connsiteX9" fmla="*/ 2094145 w 4582341"/>
              <a:gd name="connsiteY9" fmla="*/ 4707951 h 5217062"/>
              <a:gd name="connsiteX10" fmla="*/ 724063 w 4582341"/>
              <a:gd name="connsiteY10" fmla="*/ 5144925 h 5217062"/>
              <a:gd name="connsiteX11" fmla="*/ 48201 w 4582341"/>
              <a:gd name="connsiteY11" fmla="*/ 4243777 h 5217062"/>
              <a:gd name="connsiteX12" fmla="*/ 362873 w 4582341"/>
              <a:gd name="connsiteY12" fmla="*/ 3250314 h 5217062"/>
              <a:gd name="connsiteX0" fmla="*/ 362873 w 4582341"/>
              <a:gd name="connsiteY0" fmla="*/ 3225236 h 5191984"/>
              <a:gd name="connsiteX1" fmla="*/ 154220 w 4582341"/>
              <a:gd name="connsiteY1" fmla="*/ 2297135 h 5191984"/>
              <a:gd name="connsiteX2" fmla="*/ 445767 w 4582341"/>
              <a:gd name="connsiteY2" fmla="*/ 1170698 h 5191984"/>
              <a:gd name="connsiteX3" fmla="*/ 896340 w 4582341"/>
              <a:gd name="connsiteY3" fmla="*/ 4508 h 5191984"/>
              <a:gd name="connsiteX4" fmla="*/ 1935118 w 4582341"/>
              <a:gd name="connsiteY4" fmla="*/ 786940 h 5191984"/>
              <a:gd name="connsiteX5" fmla="*/ 2513105 w 4582341"/>
              <a:gd name="connsiteY5" fmla="*/ 1276717 h 5191984"/>
              <a:gd name="connsiteX6" fmla="*/ 3440759 w 4582341"/>
              <a:gd name="connsiteY6" fmla="*/ 1674282 h 5191984"/>
              <a:gd name="connsiteX7" fmla="*/ 3904585 w 4582341"/>
              <a:gd name="connsiteY7" fmla="*/ 2482665 h 5191984"/>
              <a:gd name="connsiteX8" fmla="*/ 4580791 w 4582341"/>
              <a:gd name="connsiteY8" fmla="*/ 3437271 h 5191984"/>
              <a:gd name="connsiteX9" fmla="*/ 3003437 w 4582341"/>
              <a:gd name="connsiteY9" fmla="*/ 3317551 h 5191984"/>
              <a:gd name="connsiteX10" fmla="*/ 2094145 w 4582341"/>
              <a:gd name="connsiteY10" fmla="*/ 4682873 h 5191984"/>
              <a:gd name="connsiteX11" fmla="*/ 724063 w 4582341"/>
              <a:gd name="connsiteY11" fmla="*/ 5119847 h 5191984"/>
              <a:gd name="connsiteX12" fmla="*/ 48201 w 4582341"/>
              <a:gd name="connsiteY12" fmla="*/ 4218699 h 5191984"/>
              <a:gd name="connsiteX13" fmla="*/ 362873 w 4582341"/>
              <a:gd name="connsiteY13" fmla="*/ 3225236 h 5191984"/>
              <a:gd name="connsiteX0" fmla="*/ 362873 w 4582341"/>
              <a:gd name="connsiteY0" fmla="*/ 3225236 h 5191984"/>
              <a:gd name="connsiteX1" fmla="*/ 154220 w 4582341"/>
              <a:gd name="connsiteY1" fmla="*/ 2297135 h 5191984"/>
              <a:gd name="connsiteX2" fmla="*/ 1095124 w 4582341"/>
              <a:gd name="connsiteY2" fmla="*/ 1846559 h 5191984"/>
              <a:gd name="connsiteX3" fmla="*/ 896340 w 4582341"/>
              <a:gd name="connsiteY3" fmla="*/ 4508 h 5191984"/>
              <a:gd name="connsiteX4" fmla="*/ 1935118 w 4582341"/>
              <a:gd name="connsiteY4" fmla="*/ 786940 h 5191984"/>
              <a:gd name="connsiteX5" fmla="*/ 2513105 w 4582341"/>
              <a:gd name="connsiteY5" fmla="*/ 1276717 h 5191984"/>
              <a:gd name="connsiteX6" fmla="*/ 3440759 w 4582341"/>
              <a:gd name="connsiteY6" fmla="*/ 1674282 h 5191984"/>
              <a:gd name="connsiteX7" fmla="*/ 3904585 w 4582341"/>
              <a:gd name="connsiteY7" fmla="*/ 2482665 h 5191984"/>
              <a:gd name="connsiteX8" fmla="*/ 4580791 w 4582341"/>
              <a:gd name="connsiteY8" fmla="*/ 3437271 h 5191984"/>
              <a:gd name="connsiteX9" fmla="*/ 3003437 w 4582341"/>
              <a:gd name="connsiteY9" fmla="*/ 3317551 h 5191984"/>
              <a:gd name="connsiteX10" fmla="*/ 2094145 w 4582341"/>
              <a:gd name="connsiteY10" fmla="*/ 4682873 h 5191984"/>
              <a:gd name="connsiteX11" fmla="*/ 724063 w 4582341"/>
              <a:gd name="connsiteY11" fmla="*/ 5119847 h 5191984"/>
              <a:gd name="connsiteX12" fmla="*/ 48201 w 4582341"/>
              <a:gd name="connsiteY12" fmla="*/ 4218699 h 5191984"/>
              <a:gd name="connsiteX13" fmla="*/ 362873 w 4582341"/>
              <a:gd name="connsiteY13" fmla="*/ 3225236 h 5191984"/>
              <a:gd name="connsiteX0" fmla="*/ 362873 w 4582341"/>
              <a:gd name="connsiteY0" fmla="*/ 3225236 h 5191984"/>
              <a:gd name="connsiteX1" fmla="*/ 154220 w 4582341"/>
              <a:gd name="connsiteY1" fmla="*/ 2297135 h 5191984"/>
              <a:gd name="connsiteX2" fmla="*/ 777072 w 4582341"/>
              <a:gd name="connsiteY2" fmla="*/ 1488750 h 5191984"/>
              <a:gd name="connsiteX3" fmla="*/ 896340 w 4582341"/>
              <a:gd name="connsiteY3" fmla="*/ 4508 h 5191984"/>
              <a:gd name="connsiteX4" fmla="*/ 1935118 w 4582341"/>
              <a:gd name="connsiteY4" fmla="*/ 786940 h 5191984"/>
              <a:gd name="connsiteX5" fmla="*/ 2513105 w 4582341"/>
              <a:gd name="connsiteY5" fmla="*/ 1276717 h 5191984"/>
              <a:gd name="connsiteX6" fmla="*/ 3440759 w 4582341"/>
              <a:gd name="connsiteY6" fmla="*/ 1674282 h 5191984"/>
              <a:gd name="connsiteX7" fmla="*/ 3904585 w 4582341"/>
              <a:gd name="connsiteY7" fmla="*/ 2482665 h 5191984"/>
              <a:gd name="connsiteX8" fmla="*/ 4580791 w 4582341"/>
              <a:gd name="connsiteY8" fmla="*/ 3437271 h 5191984"/>
              <a:gd name="connsiteX9" fmla="*/ 3003437 w 4582341"/>
              <a:gd name="connsiteY9" fmla="*/ 3317551 h 5191984"/>
              <a:gd name="connsiteX10" fmla="*/ 2094145 w 4582341"/>
              <a:gd name="connsiteY10" fmla="*/ 4682873 h 5191984"/>
              <a:gd name="connsiteX11" fmla="*/ 724063 w 4582341"/>
              <a:gd name="connsiteY11" fmla="*/ 5119847 h 5191984"/>
              <a:gd name="connsiteX12" fmla="*/ 48201 w 4582341"/>
              <a:gd name="connsiteY12" fmla="*/ 4218699 h 5191984"/>
              <a:gd name="connsiteX13" fmla="*/ 362873 w 4582341"/>
              <a:gd name="connsiteY13" fmla="*/ 3225236 h 5191984"/>
              <a:gd name="connsiteX0" fmla="*/ 362873 w 4582341"/>
              <a:gd name="connsiteY0" fmla="*/ 3221998 h 5188746"/>
              <a:gd name="connsiteX1" fmla="*/ 154220 w 4582341"/>
              <a:gd name="connsiteY1" fmla="*/ 2293897 h 5188746"/>
              <a:gd name="connsiteX2" fmla="*/ 777072 w 4582341"/>
              <a:gd name="connsiteY2" fmla="*/ 1485512 h 5188746"/>
              <a:gd name="connsiteX3" fmla="*/ 776311 w 4582341"/>
              <a:gd name="connsiteY3" fmla="*/ 623361 h 5188746"/>
              <a:gd name="connsiteX4" fmla="*/ 896340 w 4582341"/>
              <a:gd name="connsiteY4" fmla="*/ 1270 h 5188746"/>
              <a:gd name="connsiteX5" fmla="*/ 1935118 w 4582341"/>
              <a:gd name="connsiteY5" fmla="*/ 783702 h 5188746"/>
              <a:gd name="connsiteX6" fmla="*/ 2513105 w 4582341"/>
              <a:gd name="connsiteY6" fmla="*/ 1273479 h 5188746"/>
              <a:gd name="connsiteX7" fmla="*/ 3440759 w 4582341"/>
              <a:gd name="connsiteY7" fmla="*/ 1671044 h 5188746"/>
              <a:gd name="connsiteX8" fmla="*/ 3904585 w 4582341"/>
              <a:gd name="connsiteY8" fmla="*/ 2479427 h 5188746"/>
              <a:gd name="connsiteX9" fmla="*/ 4580791 w 4582341"/>
              <a:gd name="connsiteY9" fmla="*/ 3434033 h 5188746"/>
              <a:gd name="connsiteX10" fmla="*/ 3003437 w 4582341"/>
              <a:gd name="connsiteY10" fmla="*/ 3314313 h 5188746"/>
              <a:gd name="connsiteX11" fmla="*/ 2094145 w 4582341"/>
              <a:gd name="connsiteY11" fmla="*/ 4679635 h 5188746"/>
              <a:gd name="connsiteX12" fmla="*/ 724063 w 4582341"/>
              <a:gd name="connsiteY12" fmla="*/ 5116609 h 5188746"/>
              <a:gd name="connsiteX13" fmla="*/ 48201 w 4582341"/>
              <a:gd name="connsiteY13" fmla="*/ 4215461 h 5188746"/>
              <a:gd name="connsiteX14" fmla="*/ 362873 w 4582341"/>
              <a:gd name="connsiteY14" fmla="*/ 3221998 h 5188746"/>
              <a:gd name="connsiteX0" fmla="*/ 362873 w 4582341"/>
              <a:gd name="connsiteY0" fmla="*/ 3222585 h 5189333"/>
              <a:gd name="connsiteX1" fmla="*/ 154220 w 4582341"/>
              <a:gd name="connsiteY1" fmla="*/ 2294484 h 5189333"/>
              <a:gd name="connsiteX2" fmla="*/ 777072 w 4582341"/>
              <a:gd name="connsiteY2" fmla="*/ 1486099 h 5189333"/>
              <a:gd name="connsiteX3" fmla="*/ 656389 w 4582341"/>
              <a:gd name="connsiteY3" fmla="*/ 489036 h 5189333"/>
              <a:gd name="connsiteX4" fmla="*/ 896340 w 4582341"/>
              <a:gd name="connsiteY4" fmla="*/ 1857 h 5189333"/>
              <a:gd name="connsiteX5" fmla="*/ 1935118 w 4582341"/>
              <a:gd name="connsiteY5" fmla="*/ 784289 h 5189333"/>
              <a:gd name="connsiteX6" fmla="*/ 2513105 w 4582341"/>
              <a:gd name="connsiteY6" fmla="*/ 1274066 h 5189333"/>
              <a:gd name="connsiteX7" fmla="*/ 3440759 w 4582341"/>
              <a:gd name="connsiteY7" fmla="*/ 1671631 h 5189333"/>
              <a:gd name="connsiteX8" fmla="*/ 3904585 w 4582341"/>
              <a:gd name="connsiteY8" fmla="*/ 2480014 h 5189333"/>
              <a:gd name="connsiteX9" fmla="*/ 4580791 w 4582341"/>
              <a:gd name="connsiteY9" fmla="*/ 3434620 h 5189333"/>
              <a:gd name="connsiteX10" fmla="*/ 3003437 w 4582341"/>
              <a:gd name="connsiteY10" fmla="*/ 3314900 h 5189333"/>
              <a:gd name="connsiteX11" fmla="*/ 2094145 w 4582341"/>
              <a:gd name="connsiteY11" fmla="*/ 4680222 h 5189333"/>
              <a:gd name="connsiteX12" fmla="*/ 724063 w 4582341"/>
              <a:gd name="connsiteY12" fmla="*/ 5117196 h 5189333"/>
              <a:gd name="connsiteX13" fmla="*/ 48201 w 4582341"/>
              <a:gd name="connsiteY13" fmla="*/ 4216048 h 5189333"/>
              <a:gd name="connsiteX14" fmla="*/ 362873 w 4582341"/>
              <a:gd name="connsiteY14" fmla="*/ 3222585 h 5189333"/>
              <a:gd name="connsiteX0" fmla="*/ 362873 w 4582341"/>
              <a:gd name="connsiteY0" fmla="*/ 2969365 h 4936113"/>
              <a:gd name="connsiteX1" fmla="*/ 154220 w 4582341"/>
              <a:gd name="connsiteY1" fmla="*/ 2041264 h 4936113"/>
              <a:gd name="connsiteX2" fmla="*/ 777072 w 4582341"/>
              <a:gd name="connsiteY2" fmla="*/ 1232879 h 4936113"/>
              <a:gd name="connsiteX3" fmla="*/ 656389 w 4582341"/>
              <a:gd name="connsiteY3" fmla="*/ 235816 h 4936113"/>
              <a:gd name="connsiteX4" fmla="*/ 1128688 w 4582341"/>
              <a:gd name="connsiteY4" fmla="*/ 10965 h 4936113"/>
              <a:gd name="connsiteX5" fmla="*/ 1935118 w 4582341"/>
              <a:gd name="connsiteY5" fmla="*/ 531069 h 4936113"/>
              <a:gd name="connsiteX6" fmla="*/ 2513105 w 4582341"/>
              <a:gd name="connsiteY6" fmla="*/ 1020846 h 4936113"/>
              <a:gd name="connsiteX7" fmla="*/ 3440759 w 4582341"/>
              <a:gd name="connsiteY7" fmla="*/ 1418411 h 4936113"/>
              <a:gd name="connsiteX8" fmla="*/ 3904585 w 4582341"/>
              <a:gd name="connsiteY8" fmla="*/ 2226794 h 4936113"/>
              <a:gd name="connsiteX9" fmla="*/ 4580791 w 4582341"/>
              <a:gd name="connsiteY9" fmla="*/ 3181400 h 4936113"/>
              <a:gd name="connsiteX10" fmla="*/ 3003437 w 4582341"/>
              <a:gd name="connsiteY10" fmla="*/ 3061680 h 4936113"/>
              <a:gd name="connsiteX11" fmla="*/ 2094145 w 4582341"/>
              <a:gd name="connsiteY11" fmla="*/ 4427002 h 4936113"/>
              <a:gd name="connsiteX12" fmla="*/ 724063 w 4582341"/>
              <a:gd name="connsiteY12" fmla="*/ 4863976 h 4936113"/>
              <a:gd name="connsiteX13" fmla="*/ 48201 w 4582341"/>
              <a:gd name="connsiteY13" fmla="*/ 3962828 h 4936113"/>
              <a:gd name="connsiteX14" fmla="*/ 362873 w 4582341"/>
              <a:gd name="connsiteY14" fmla="*/ 2969365 h 4936113"/>
              <a:gd name="connsiteX0" fmla="*/ 362873 w 4582341"/>
              <a:gd name="connsiteY0" fmla="*/ 3252392 h 5219140"/>
              <a:gd name="connsiteX1" fmla="*/ 154220 w 4582341"/>
              <a:gd name="connsiteY1" fmla="*/ 2324291 h 5219140"/>
              <a:gd name="connsiteX2" fmla="*/ 777072 w 4582341"/>
              <a:gd name="connsiteY2" fmla="*/ 1515906 h 5219140"/>
              <a:gd name="connsiteX3" fmla="*/ 656389 w 4582341"/>
              <a:gd name="connsiteY3" fmla="*/ 518843 h 5219140"/>
              <a:gd name="connsiteX4" fmla="*/ 1031252 w 4582341"/>
              <a:gd name="connsiteY4" fmla="*/ 1684 h 5219140"/>
              <a:gd name="connsiteX5" fmla="*/ 1935118 w 4582341"/>
              <a:gd name="connsiteY5" fmla="*/ 814096 h 5219140"/>
              <a:gd name="connsiteX6" fmla="*/ 2513105 w 4582341"/>
              <a:gd name="connsiteY6" fmla="*/ 1303873 h 5219140"/>
              <a:gd name="connsiteX7" fmla="*/ 3440759 w 4582341"/>
              <a:gd name="connsiteY7" fmla="*/ 1701438 h 5219140"/>
              <a:gd name="connsiteX8" fmla="*/ 3904585 w 4582341"/>
              <a:gd name="connsiteY8" fmla="*/ 2509821 h 5219140"/>
              <a:gd name="connsiteX9" fmla="*/ 4580791 w 4582341"/>
              <a:gd name="connsiteY9" fmla="*/ 3464427 h 5219140"/>
              <a:gd name="connsiteX10" fmla="*/ 3003437 w 4582341"/>
              <a:gd name="connsiteY10" fmla="*/ 3344707 h 5219140"/>
              <a:gd name="connsiteX11" fmla="*/ 2094145 w 4582341"/>
              <a:gd name="connsiteY11" fmla="*/ 4710029 h 5219140"/>
              <a:gd name="connsiteX12" fmla="*/ 724063 w 4582341"/>
              <a:gd name="connsiteY12" fmla="*/ 5147003 h 5219140"/>
              <a:gd name="connsiteX13" fmla="*/ 48201 w 4582341"/>
              <a:gd name="connsiteY13" fmla="*/ 4245855 h 5219140"/>
              <a:gd name="connsiteX14" fmla="*/ 362873 w 4582341"/>
              <a:gd name="connsiteY14" fmla="*/ 3252392 h 5219140"/>
              <a:gd name="connsiteX0" fmla="*/ 362873 w 4582341"/>
              <a:gd name="connsiteY0" fmla="*/ 3252392 h 5219140"/>
              <a:gd name="connsiteX1" fmla="*/ 154220 w 4582341"/>
              <a:gd name="connsiteY1" fmla="*/ 2324291 h 5219140"/>
              <a:gd name="connsiteX2" fmla="*/ 777072 w 4582341"/>
              <a:gd name="connsiteY2" fmla="*/ 1515906 h 5219140"/>
              <a:gd name="connsiteX3" fmla="*/ 656389 w 4582341"/>
              <a:gd name="connsiteY3" fmla="*/ 518843 h 5219140"/>
              <a:gd name="connsiteX4" fmla="*/ 1031252 w 4582341"/>
              <a:gd name="connsiteY4" fmla="*/ 1684 h 5219140"/>
              <a:gd name="connsiteX5" fmla="*/ 1770226 w 4582341"/>
              <a:gd name="connsiteY5" fmla="*/ 926522 h 5219140"/>
              <a:gd name="connsiteX6" fmla="*/ 2513105 w 4582341"/>
              <a:gd name="connsiteY6" fmla="*/ 1303873 h 5219140"/>
              <a:gd name="connsiteX7" fmla="*/ 3440759 w 4582341"/>
              <a:gd name="connsiteY7" fmla="*/ 1701438 h 5219140"/>
              <a:gd name="connsiteX8" fmla="*/ 3904585 w 4582341"/>
              <a:gd name="connsiteY8" fmla="*/ 2509821 h 5219140"/>
              <a:gd name="connsiteX9" fmla="*/ 4580791 w 4582341"/>
              <a:gd name="connsiteY9" fmla="*/ 3464427 h 5219140"/>
              <a:gd name="connsiteX10" fmla="*/ 3003437 w 4582341"/>
              <a:gd name="connsiteY10" fmla="*/ 3344707 h 5219140"/>
              <a:gd name="connsiteX11" fmla="*/ 2094145 w 4582341"/>
              <a:gd name="connsiteY11" fmla="*/ 4710029 h 5219140"/>
              <a:gd name="connsiteX12" fmla="*/ 724063 w 4582341"/>
              <a:gd name="connsiteY12" fmla="*/ 5147003 h 5219140"/>
              <a:gd name="connsiteX13" fmla="*/ 48201 w 4582341"/>
              <a:gd name="connsiteY13" fmla="*/ 4245855 h 5219140"/>
              <a:gd name="connsiteX14" fmla="*/ 362873 w 4582341"/>
              <a:gd name="connsiteY14" fmla="*/ 3252392 h 5219140"/>
              <a:gd name="connsiteX0" fmla="*/ 362873 w 4582341"/>
              <a:gd name="connsiteY0" fmla="*/ 3252392 h 5219140"/>
              <a:gd name="connsiteX1" fmla="*/ 154220 w 4582341"/>
              <a:gd name="connsiteY1" fmla="*/ 2324291 h 5219140"/>
              <a:gd name="connsiteX2" fmla="*/ 777072 w 4582341"/>
              <a:gd name="connsiteY2" fmla="*/ 1515906 h 5219140"/>
              <a:gd name="connsiteX3" fmla="*/ 656389 w 4582341"/>
              <a:gd name="connsiteY3" fmla="*/ 518843 h 5219140"/>
              <a:gd name="connsiteX4" fmla="*/ 1031252 w 4582341"/>
              <a:gd name="connsiteY4" fmla="*/ 1684 h 5219140"/>
              <a:gd name="connsiteX5" fmla="*/ 1897642 w 4582341"/>
              <a:gd name="connsiteY5" fmla="*/ 821591 h 5219140"/>
              <a:gd name="connsiteX6" fmla="*/ 2513105 w 4582341"/>
              <a:gd name="connsiteY6" fmla="*/ 1303873 h 5219140"/>
              <a:gd name="connsiteX7" fmla="*/ 3440759 w 4582341"/>
              <a:gd name="connsiteY7" fmla="*/ 1701438 h 5219140"/>
              <a:gd name="connsiteX8" fmla="*/ 3904585 w 4582341"/>
              <a:gd name="connsiteY8" fmla="*/ 2509821 h 5219140"/>
              <a:gd name="connsiteX9" fmla="*/ 4580791 w 4582341"/>
              <a:gd name="connsiteY9" fmla="*/ 3464427 h 5219140"/>
              <a:gd name="connsiteX10" fmla="*/ 3003437 w 4582341"/>
              <a:gd name="connsiteY10" fmla="*/ 3344707 h 5219140"/>
              <a:gd name="connsiteX11" fmla="*/ 2094145 w 4582341"/>
              <a:gd name="connsiteY11" fmla="*/ 4710029 h 5219140"/>
              <a:gd name="connsiteX12" fmla="*/ 724063 w 4582341"/>
              <a:gd name="connsiteY12" fmla="*/ 5147003 h 5219140"/>
              <a:gd name="connsiteX13" fmla="*/ 48201 w 4582341"/>
              <a:gd name="connsiteY13" fmla="*/ 4245855 h 5219140"/>
              <a:gd name="connsiteX14" fmla="*/ 362873 w 4582341"/>
              <a:gd name="connsiteY14" fmla="*/ 3252392 h 5219140"/>
              <a:gd name="connsiteX0" fmla="*/ 362873 w 4582341"/>
              <a:gd name="connsiteY0" fmla="*/ 3252392 h 5219140"/>
              <a:gd name="connsiteX1" fmla="*/ 154220 w 4582341"/>
              <a:gd name="connsiteY1" fmla="*/ 2324291 h 5219140"/>
              <a:gd name="connsiteX2" fmla="*/ 777072 w 4582341"/>
              <a:gd name="connsiteY2" fmla="*/ 1515906 h 5219140"/>
              <a:gd name="connsiteX3" fmla="*/ 656389 w 4582341"/>
              <a:gd name="connsiteY3" fmla="*/ 518843 h 5219140"/>
              <a:gd name="connsiteX4" fmla="*/ 1031252 w 4582341"/>
              <a:gd name="connsiteY4" fmla="*/ 1684 h 5219140"/>
              <a:gd name="connsiteX5" fmla="*/ 1897642 w 4582341"/>
              <a:gd name="connsiteY5" fmla="*/ 821591 h 5219140"/>
              <a:gd name="connsiteX6" fmla="*/ 2415669 w 4582341"/>
              <a:gd name="connsiteY6" fmla="*/ 1558706 h 5219140"/>
              <a:gd name="connsiteX7" fmla="*/ 3440759 w 4582341"/>
              <a:gd name="connsiteY7" fmla="*/ 1701438 h 5219140"/>
              <a:gd name="connsiteX8" fmla="*/ 3904585 w 4582341"/>
              <a:gd name="connsiteY8" fmla="*/ 2509821 h 5219140"/>
              <a:gd name="connsiteX9" fmla="*/ 4580791 w 4582341"/>
              <a:gd name="connsiteY9" fmla="*/ 3464427 h 5219140"/>
              <a:gd name="connsiteX10" fmla="*/ 3003437 w 4582341"/>
              <a:gd name="connsiteY10" fmla="*/ 3344707 h 5219140"/>
              <a:gd name="connsiteX11" fmla="*/ 2094145 w 4582341"/>
              <a:gd name="connsiteY11" fmla="*/ 4710029 h 5219140"/>
              <a:gd name="connsiteX12" fmla="*/ 724063 w 4582341"/>
              <a:gd name="connsiteY12" fmla="*/ 5147003 h 5219140"/>
              <a:gd name="connsiteX13" fmla="*/ 48201 w 4582341"/>
              <a:gd name="connsiteY13" fmla="*/ 4245855 h 5219140"/>
              <a:gd name="connsiteX14" fmla="*/ 362873 w 4582341"/>
              <a:gd name="connsiteY14" fmla="*/ 3252392 h 5219140"/>
              <a:gd name="connsiteX0" fmla="*/ 362873 w 4582341"/>
              <a:gd name="connsiteY0" fmla="*/ 3252392 h 5219140"/>
              <a:gd name="connsiteX1" fmla="*/ 154220 w 4582341"/>
              <a:gd name="connsiteY1" fmla="*/ 2324291 h 5219140"/>
              <a:gd name="connsiteX2" fmla="*/ 777072 w 4582341"/>
              <a:gd name="connsiteY2" fmla="*/ 1515906 h 5219140"/>
              <a:gd name="connsiteX3" fmla="*/ 656389 w 4582341"/>
              <a:gd name="connsiteY3" fmla="*/ 518843 h 5219140"/>
              <a:gd name="connsiteX4" fmla="*/ 1031252 w 4582341"/>
              <a:gd name="connsiteY4" fmla="*/ 1684 h 5219140"/>
              <a:gd name="connsiteX5" fmla="*/ 1897642 w 4582341"/>
              <a:gd name="connsiteY5" fmla="*/ 821591 h 5219140"/>
              <a:gd name="connsiteX6" fmla="*/ 2520600 w 4582341"/>
              <a:gd name="connsiteY6" fmla="*/ 1363833 h 5219140"/>
              <a:gd name="connsiteX7" fmla="*/ 3440759 w 4582341"/>
              <a:gd name="connsiteY7" fmla="*/ 1701438 h 5219140"/>
              <a:gd name="connsiteX8" fmla="*/ 3904585 w 4582341"/>
              <a:gd name="connsiteY8" fmla="*/ 2509821 h 5219140"/>
              <a:gd name="connsiteX9" fmla="*/ 4580791 w 4582341"/>
              <a:gd name="connsiteY9" fmla="*/ 3464427 h 5219140"/>
              <a:gd name="connsiteX10" fmla="*/ 3003437 w 4582341"/>
              <a:gd name="connsiteY10" fmla="*/ 3344707 h 5219140"/>
              <a:gd name="connsiteX11" fmla="*/ 2094145 w 4582341"/>
              <a:gd name="connsiteY11" fmla="*/ 4710029 h 5219140"/>
              <a:gd name="connsiteX12" fmla="*/ 724063 w 4582341"/>
              <a:gd name="connsiteY12" fmla="*/ 5147003 h 5219140"/>
              <a:gd name="connsiteX13" fmla="*/ 48201 w 4582341"/>
              <a:gd name="connsiteY13" fmla="*/ 4245855 h 5219140"/>
              <a:gd name="connsiteX14" fmla="*/ 362873 w 4582341"/>
              <a:gd name="connsiteY14" fmla="*/ 3252392 h 5219140"/>
              <a:gd name="connsiteX0" fmla="*/ 362873 w 4582341"/>
              <a:gd name="connsiteY0" fmla="*/ 3252392 h 5219140"/>
              <a:gd name="connsiteX1" fmla="*/ 154220 w 4582341"/>
              <a:gd name="connsiteY1" fmla="*/ 2324291 h 5219140"/>
              <a:gd name="connsiteX2" fmla="*/ 777072 w 4582341"/>
              <a:gd name="connsiteY2" fmla="*/ 1515906 h 5219140"/>
              <a:gd name="connsiteX3" fmla="*/ 656389 w 4582341"/>
              <a:gd name="connsiteY3" fmla="*/ 518843 h 5219140"/>
              <a:gd name="connsiteX4" fmla="*/ 1031252 w 4582341"/>
              <a:gd name="connsiteY4" fmla="*/ 1684 h 5219140"/>
              <a:gd name="connsiteX5" fmla="*/ 1897642 w 4582341"/>
              <a:gd name="connsiteY5" fmla="*/ 821591 h 5219140"/>
              <a:gd name="connsiteX6" fmla="*/ 2520600 w 4582341"/>
              <a:gd name="connsiteY6" fmla="*/ 1363833 h 5219140"/>
              <a:gd name="connsiteX7" fmla="*/ 3440759 w 4582341"/>
              <a:gd name="connsiteY7" fmla="*/ 1701438 h 5219140"/>
              <a:gd name="connsiteX8" fmla="*/ 3904585 w 4582341"/>
              <a:gd name="connsiteY8" fmla="*/ 2509821 h 5219140"/>
              <a:gd name="connsiteX9" fmla="*/ 4580791 w 4582341"/>
              <a:gd name="connsiteY9" fmla="*/ 3464427 h 5219140"/>
              <a:gd name="connsiteX10" fmla="*/ 3003437 w 4582341"/>
              <a:gd name="connsiteY10" fmla="*/ 3344707 h 5219140"/>
              <a:gd name="connsiteX11" fmla="*/ 2094145 w 4582341"/>
              <a:gd name="connsiteY11" fmla="*/ 4710029 h 5219140"/>
              <a:gd name="connsiteX12" fmla="*/ 724063 w 4582341"/>
              <a:gd name="connsiteY12" fmla="*/ 5147003 h 5219140"/>
              <a:gd name="connsiteX13" fmla="*/ 48201 w 4582341"/>
              <a:gd name="connsiteY13" fmla="*/ 4245855 h 5219140"/>
              <a:gd name="connsiteX14" fmla="*/ 362873 w 4582341"/>
              <a:gd name="connsiteY14" fmla="*/ 3252392 h 5219140"/>
              <a:gd name="connsiteX0" fmla="*/ 362873 w 4582341"/>
              <a:gd name="connsiteY0" fmla="*/ 3252392 h 5219140"/>
              <a:gd name="connsiteX1" fmla="*/ 154220 w 4582341"/>
              <a:gd name="connsiteY1" fmla="*/ 2324291 h 5219140"/>
              <a:gd name="connsiteX2" fmla="*/ 777072 w 4582341"/>
              <a:gd name="connsiteY2" fmla="*/ 1515906 h 5219140"/>
              <a:gd name="connsiteX3" fmla="*/ 656389 w 4582341"/>
              <a:gd name="connsiteY3" fmla="*/ 518843 h 5219140"/>
              <a:gd name="connsiteX4" fmla="*/ 1031252 w 4582341"/>
              <a:gd name="connsiteY4" fmla="*/ 1684 h 5219140"/>
              <a:gd name="connsiteX5" fmla="*/ 1897642 w 4582341"/>
              <a:gd name="connsiteY5" fmla="*/ 821591 h 5219140"/>
              <a:gd name="connsiteX6" fmla="*/ 2520600 w 4582341"/>
              <a:gd name="connsiteY6" fmla="*/ 1363833 h 5219140"/>
              <a:gd name="connsiteX7" fmla="*/ 3440759 w 4582341"/>
              <a:gd name="connsiteY7" fmla="*/ 1701438 h 5219140"/>
              <a:gd name="connsiteX8" fmla="*/ 3904585 w 4582341"/>
              <a:gd name="connsiteY8" fmla="*/ 2509821 h 5219140"/>
              <a:gd name="connsiteX9" fmla="*/ 4580791 w 4582341"/>
              <a:gd name="connsiteY9" fmla="*/ 3464427 h 5219140"/>
              <a:gd name="connsiteX10" fmla="*/ 3003437 w 4582341"/>
              <a:gd name="connsiteY10" fmla="*/ 3344707 h 5219140"/>
              <a:gd name="connsiteX11" fmla="*/ 2094145 w 4582341"/>
              <a:gd name="connsiteY11" fmla="*/ 4710029 h 5219140"/>
              <a:gd name="connsiteX12" fmla="*/ 724063 w 4582341"/>
              <a:gd name="connsiteY12" fmla="*/ 5147003 h 5219140"/>
              <a:gd name="connsiteX13" fmla="*/ 48201 w 4582341"/>
              <a:gd name="connsiteY13" fmla="*/ 4245855 h 5219140"/>
              <a:gd name="connsiteX14" fmla="*/ 362873 w 4582341"/>
              <a:gd name="connsiteY14" fmla="*/ 3252392 h 5219140"/>
              <a:gd name="connsiteX0" fmla="*/ 362873 w 4582341"/>
              <a:gd name="connsiteY0" fmla="*/ 3252392 h 5219140"/>
              <a:gd name="connsiteX1" fmla="*/ 154220 w 4582341"/>
              <a:gd name="connsiteY1" fmla="*/ 2324291 h 5219140"/>
              <a:gd name="connsiteX2" fmla="*/ 777072 w 4582341"/>
              <a:gd name="connsiteY2" fmla="*/ 1515906 h 5219140"/>
              <a:gd name="connsiteX3" fmla="*/ 656389 w 4582341"/>
              <a:gd name="connsiteY3" fmla="*/ 518843 h 5219140"/>
              <a:gd name="connsiteX4" fmla="*/ 1031252 w 4582341"/>
              <a:gd name="connsiteY4" fmla="*/ 1684 h 5219140"/>
              <a:gd name="connsiteX5" fmla="*/ 1897642 w 4582341"/>
              <a:gd name="connsiteY5" fmla="*/ 821591 h 5219140"/>
              <a:gd name="connsiteX6" fmla="*/ 2483125 w 4582341"/>
              <a:gd name="connsiteY6" fmla="*/ 1281388 h 5219140"/>
              <a:gd name="connsiteX7" fmla="*/ 3440759 w 4582341"/>
              <a:gd name="connsiteY7" fmla="*/ 1701438 h 5219140"/>
              <a:gd name="connsiteX8" fmla="*/ 3904585 w 4582341"/>
              <a:gd name="connsiteY8" fmla="*/ 2509821 h 5219140"/>
              <a:gd name="connsiteX9" fmla="*/ 4580791 w 4582341"/>
              <a:gd name="connsiteY9" fmla="*/ 3464427 h 5219140"/>
              <a:gd name="connsiteX10" fmla="*/ 3003437 w 4582341"/>
              <a:gd name="connsiteY10" fmla="*/ 3344707 h 5219140"/>
              <a:gd name="connsiteX11" fmla="*/ 2094145 w 4582341"/>
              <a:gd name="connsiteY11" fmla="*/ 4710029 h 5219140"/>
              <a:gd name="connsiteX12" fmla="*/ 724063 w 4582341"/>
              <a:gd name="connsiteY12" fmla="*/ 5147003 h 5219140"/>
              <a:gd name="connsiteX13" fmla="*/ 48201 w 4582341"/>
              <a:gd name="connsiteY13" fmla="*/ 4245855 h 5219140"/>
              <a:gd name="connsiteX14" fmla="*/ 362873 w 4582341"/>
              <a:gd name="connsiteY14" fmla="*/ 3252392 h 5219140"/>
              <a:gd name="connsiteX0" fmla="*/ 362873 w 4582341"/>
              <a:gd name="connsiteY0" fmla="*/ 3252392 h 5219140"/>
              <a:gd name="connsiteX1" fmla="*/ 154220 w 4582341"/>
              <a:gd name="connsiteY1" fmla="*/ 2324291 h 5219140"/>
              <a:gd name="connsiteX2" fmla="*/ 777072 w 4582341"/>
              <a:gd name="connsiteY2" fmla="*/ 1515906 h 5219140"/>
              <a:gd name="connsiteX3" fmla="*/ 656389 w 4582341"/>
              <a:gd name="connsiteY3" fmla="*/ 518843 h 5219140"/>
              <a:gd name="connsiteX4" fmla="*/ 1031252 w 4582341"/>
              <a:gd name="connsiteY4" fmla="*/ 1684 h 5219140"/>
              <a:gd name="connsiteX5" fmla="*/ 1897642 w 4582341"/>
              <a:gd name="connsiteY5" fmla="*/ 821591 h 5219140"/>
              <a:gd name="connsiteX6" fmla="*/ 2483125 w 4582341"/>
              <a:gd name="connsiteY6" fmla="*/ 1281388 h 5219140"/>
              <a:gd name="connsiteX7" fmla="*/ 3440759 w 4582341"/>
              <a:gd name="connsiteY7" fmla="*/ 1701438 h 5219140"/>
              <a:gd name="connsiteX8" fmla="*/ 3904585 w 4582341"/>
              <a:gd name="connsiteY8" fmla="*/ 2509821 h 5219140"/>
              <a:gd name="connsiteX9" fmla="*/ 4580791 w 4582341"/>
              <a:gd name="connsiteY9" fmla="*/ 3464427 h 5219140"/>
              <a:gd name="connsiteX10" fmla="*/ 3003437 w 4582341"/>
              <a:gd name="connsiteY10" fmla="*/ 3344707 h 5219140"/>
              <a:gd name="connsiteX11" fmla="*/ 2094145 w 4582341"/>
              <a:gd name="connsiteY11" fmla="*/ 4710029 h 5219140"/>
              <a:gd name="connsiteX12" fmla="*/ 724063 w 4582341"/>
              <a:gd name="connsiteY12" fmla="*/ 5147003 h 5219140"/>
              <a:gd name="connsiteX13" fmla="*/ 48201 w 4582341"/>
              <a:gd name="connsiteY13" fmla="*/ 4245855 h 5219140"/>
              <a:gd name="connsiteX14" fmla="*/ 362873 w 4582341"/>
              <a:gd name="connsiteY14" fmla="*/ 3252392 h 5219140"/>
              <a:gd name="connsiteX0" fmla="*/ 362873 w 4582341"/>
              <a:gd name="connsiteY0" fmla="*/ 3252392 h 5219140"/>
              <a:gd name="connsiteX1" fmla="*/ 154220 w 4582341"/>
              <a:gd name="connsiteY1" fmla="*/ 2324291 h 5219140"/>
              <a:gd name="connsiteX2" fmla="*/ 777072 w 4582341"/>
              <a:gd name="connsiteY2" fmla="*/ 1515906 h 5219140"/>
              <a:gd name="connsiteX3" fmla="*/ 656389 w 4582341"/>
              <a:gd name="connsiteY3" fmla="*/ 518843 h 5219140"/>
              <a:gd name="connsiteX4" fmla="*/ 1031252 w 4582341"/>
              <a:gd name="connsiteY4" fmla="*/ 1684 h 5219140"/>
              <a:gd name="connsiteX5" fmla="*/ 1800206 w 4582341"/>
              <a:gd name="connsiteY5" fmla="*/ 866561 h 5219140"/>
              <a:gd name="connsiteX6" fmla="*/ 2483125 w 4582341"/>
              <a:gd name="connsiteY6" fmla="*/ 1281388 h 5219140"/>
              <a:gd name="connsiteX7" fmla="*/ 3440759 w 4582341"/>
              <a:gd name="connsiteY7" fmla="*/ 1701438 h 5219140"/>
              <a:gd name="connsiteX8" fmla="*/ 3904585 w 4582341"/>
              <a:gd name="connsiteY8" fmla="*/ 2509821 h 5219140"/>
              <a:gd name="connsiteX9" fmla="*/ 4580791 w 4582341"/>
              <a:gd name="connsiteY9" fmla="*/ 3464427 h 5219140"/>
              <a:gd name="connsiteX10" fmla="*/ 3003437 w 4582341"/>
              <a:gd name="connsiteY10" fmla="*/ 3344707 h 5219140"/>
              <a:gd name="connsiteX11" fmla="*/ 2094145 w 4582341"/>
              <a:gd name="connsiteY11" fmla="*/ 4710029 h 5219140"/>
              <a:gd name="connsiteX12" fmla="*/ 724063 w 4582341"/>
              <a:gd name="connsiteY12" fmla="*/ 5147003 h 5219140"/>
              <a:gd name="connsiteX13" fmla="*/ 48201 w 4582341"/>
              <a:gd name="connsiteY13" fmla="*/ 4245855 h 5219140"/>
              <a:gd name="connsiteX14" fmla="*/ 362873 w 4582341"/>
              <a:gd name="connsiteY14" fmla="*/ 3252392 h 5219140"/>
              <a:gd name="connsiteX0" fmla="*/ 362873 w 4582341"/>
              <a:gd name="connsiteY0" fmla="*/ 3252392 h 5219140"/>
              <a:gd name="connsiteX1" fmla="*/ 154220 w 4582341"/>
              <a:gd name="connsiteY1" fmla="*/ 2324291 h 5219140"/>
              <a:gd name="connsiteX2" fmla="*/ 777072 w 4582341"/>
              <a:gd name="connsiteY2" fmla="*/ 1515906 h 5219140"/>
              <a:gd name="connsiteX3" fmla="*/ 656389 w 4582341"/>
              <a:gd name="connsiteY3" fmla="*/ 518843 h 5219140"/>
              <a:gd name="connsiteX4" fmla="*/ 1031252 w 4582341"/>
              <a:gd name="connsiteY4" fmla="*/ 1684 h 5219140"/>
              <a:gd name="connsiteX5" fmla="*/ 1785216 w 4582341"/>
              <a:gd name="connsiteY5" fmla="*/ 709164 h 5219140"/>
              <a:gd name="connsiteX6" fmla="*/ 2483125 w 4582341"/>
              <a:gd name="connsiteY6" fmla="*/ 1281388 h 5219140"/>
              <a:gd name="connsiteX7" fmla="*/ 3440759 w 4582341"/>
              <a:gd name="connsiteY7" fmla="*/ 1701438 h 5219140"/>
              <a:gd name="connsiteX8" fmla="*/ 3904585 w 4582341"/>
              <a:gd name="connsiteY8" fmla="*/ 2509821 h 5219140"/>
              <a:gd name="connsiteX9" fmla="*/ 4580791 w 4582341"/>
              <a:gd name="connsiteY9" fmla="*/ 3464427 h 5219140"/>
              <a:gd name="connsiteX10" fmla="*/ 3003437 w 4582341"/>
              <a:gd name="connsiteY10" fmla="*/ 3344707 h 5219140"/>
              <a:gd name="connsiteX11" fmla="*/ 2094145 w 4582341"/>
              <a:gd name="connsiteY11" fmla="*/ 4710029 h 5219140"/>
              <a:gd name="connsiteX12" fmla="*/ 724063 w 4582341"/>
              <a:gd name="connsiteY12" fmla="*/ 5147003 h 5219140"/>
              <a:gd name="connsiteX13" fmla="*/ 48201 w 4582341"/>
              <a:gd name="connsiteY13" fmla="*/ 4245855 h 5219140"/>
              <a:gd name="connsiteX14" fmla="*/ 362873 w 4582341"/>
              <a:gd name="connsiteY14" fmla="*/ 3252392 h 5219140"/>
              <a:gd name="connsiteX0" fmla="*/ 362873 w 4582621"/>
              <a:gd name="connsiteY0" fmla="*/ 3252392 h 5219140"/>
              <a:gd name="connsiteX1" fmla="*/ 154220 w 4582621"/>
              <a:gd name="connsiteY1" fmla="*/ 2324291 h 5219140"/>
              <a:gd name="connsiteX2" fmla="*/ 777072 w 4582621"/>
              <a:gd name="connsiteY2" fmla="*/ 1515906 h 5219140"/>
              <a:gd name="connsiteX3" fmla="*/ 656389 w 4582621"/>
              <a:gd name="connsiteY3" fmla="*/ 518843 h 5219140"/>
              <a:gd name="connsiteX4" fmla="*/ 1031252 w 4582621"/>
              <a:gd name="connsiteY4" fmla="*/ 1684 h 5219140"/>
              <a:gd name="connsiteX5" fmla="*/ 1785216 w 4582621"/>
              <a:gd name="connsiteY5" fmla="*/ 709164 h 5219140"/>
              <a:gd name="connsiteX6" fmla="*/ 2483125 w 4582621"/>
              <a:gd name="connsiteY6" fmla="*/ 1281388 h 5219140"/>
              <a:gd name="connsiteX7" fmla="*/ 3440759 w 4582621"/>
              <a:gd name="connsiteY7" fmla="*/ 1701438 h 5219140"/>
              <a:gd name="connsiteX8" fmla="*/ 3601957 w 4582621"/>
              <a:gd name="connsiteY8" fmla="*/ 2025356 h 5219140"/>
              <a:gd name="connsiteX9" fmla="*/ 3904585 w 4582621"/>
              <a:gd name="connsiteY9" fmla="*/ 2509821 h 5219140"/>
              <a:gd name="connsiteX10" fmla="*/ 4580791 w 4582621"/>
              <a:gd name="connsiteY10" fmla="*/ 3464427 h 5219140"/>
              <a:gd name="connsiteX11" fmla="*/ 3003437 w 4582621"/>
              <a:gd name="connsiteY11" fmla="*/ 3344707 h 5219140"/>
              <a:gd name="connsiteX12" fmla="*/ 2094145 w 4582621"/>
              <a:gd name="connsiteY12" fmla="*/ 4710029 h 5219140"/>
              <a:gd name="connsiteX13" fmla="*/ 724063 w 4582621"/>
              <a:gd name="connsiteY13" fmla="*/ 5147003 h 5219140"/>
              <a:gd name="connsiteX14" fmla="*/ 48201 w 4582621"/>
              <a:gd name="connsiteY14" fmla="*/ 4245855 h 5219140"/>
              <a:gd name="connsiteX15" fmla="*/ 362873 w 4582621"/>
              <a:gd name="connsiteY15" fmla="*/ 3252392 h 5219140"/>
              <a:gd name="connsiteX0" fmla="*/ 362873 w 4582621"/>
              <a:gd name="connsiteY0" fmla="*/ 3252392 h 5219140"/>
              <a:gd name="connsiteX1" fmla="*/ 154220 w 4582621"/>
              <a:gd name="connsiteY1" fmla="*/ 2324291 h 5219140"/>
              <a:gd name="connsiteX2" fmla="*/ 777072 w 4582621"/>
              <a:gd name="connsiteY2" fmla="*/ 1515906 h 5219140"/>
              <a:gd name="connsiteX3" fmla="*/ 656389 w 4582621"/>
              <a:gd name="connsiteY3" fmla="*/ 518843 h 5219140"/>
              <a:gd name="connsiteX4" fmla="*/ 1031252 w 4582621"/>
              <a:gd name="connsiteY4" fmla="*/ 1684 h 5219140"/>
              <a:gd name="connsiteX5" fmla="*/ 1785216 w 4582621"/>
              <a:gd name="connsiteY5" fmla="*/ 709164 h 5219140"/>
              <a:gd name="connsiteX6" fmla="*/ 2483125 w 4582621"/>
              <a:gd name="connsiteY6" fmla="*/ 1281388 h 5219140"/>
              <a:gd name="connsiteX7" fmla="*/ 3440759 w 4582621"/>
              <a:gd name="connsiteY7" fmla="*/ 1701438 h 5219140"/>
              <a:gd name="connsiteX8" fmla="*/ 3699393 w 4582621"/>
              <a:gd name="connsiteY8" fmla="*/ 2070326 h 5219140"/>
              <a:gd name="connsiteX9" fmla="*/ 3904585 w 4582621"/>
              <a:gd name="connsiteY9" fmla="*/ 2509821 h 5219140"/>
              <a:gd name="connsiteX10" fmla="*/ 4580791 w 4582621"/>
              <a:gd name="connsiteY10" fmla="*/ 3464427 h 5219140"/>
              <a:gd name="connsiteX11" fmla="*/ 3003437 w 4582621"/>
              <a:gd name="connsiteY11" fmla="*/ 3344707 h 5219140"/>
              <a:gd name="connsiteX12" fmla="*/ 2094145 w 4582621"/>
              <a:gd name="connsiteY12" fmla="*/ 4710029 h 5219140"/>
              <a:gd name="connsiteX13" fmla="*/ 724063 w 4582621"/>
              <a:gd name="connsiteY13" fmla="*/ 5147003 h 5219140"/>
              <a:gd name="connsiteX14" fmla="*/ 48201 w 4582621"/>
              <a:gd name="connsiteY14" fmla="*/ 4245855 h 5219140"/>
              <a:gd name="connsiteX15" fmla="*/ 362873 w 4582621"/>
              <a:gd name="connsiteY15" fmla="*/ 3252392 h 5219140"/>
              <a:gd name="connsiteX0" fmla="*/ 362873 w 4582621"/>
              <a:gd name="connsiteY0" fmla="*/ 3252392 h 5219140"/>
              <a:gd name="connsiteX1" fmla="*/ 154220 w 4582621"/>
              <a:gd name="connsiteY1" fmla="*/ 2324291 h 5219140"/>
              <a:gd name="connsiteX2" fmla="*/ 777072 w 4582621"/>
              <a:gd name="connsiteY2" fmla="*/ 1515906 h 5219140"/>
              <a:gd name="connsiteX3" fmla="*/ 656389 w 4582621"/>
              <a:gd name="connsiteY3" fmla="*/ 518843 h 5219140"/>
              <a:gd name="connsiteX4" fmla="*/ 1031252 w 4582621"/>
              <a:gd name="connsiteY4" fmla="*/ 1684 h 5219140"/>
              <a:gd name="connsiteX5" fmla="*/ 1785216 w 4582621"/>
              <a:gd name="connsiteY5" fmla="*/ 709164 h 5219140"/>
              <a:gd name="connsiteX6" fmla="*/ 2483125 w 4582621"/>
              <a:gd name="connsiteY6" fmla="*/ 1281388 h 5219140"/>
              <a:gd name="connsiteX7" fmla="*/ 3440759 w 4582621"/>
              <a:gd name="connsiteY7" fmla="*/ 1701438 h 5219140"/>
              <a:gd name="connsiteX8" fmla="*/ 3699393 w 4582621"/>
              <a:gd name="connsiteY8" fmla="*/ 2070326 h 5219140"/>
              <a:gd name="connsiteX9" fmla="*/ 3904585 w 4582621"/>
              <a:gd name="connsiteY9" fmla="*/ 2509821 h 5219140"/>
              <a:gd name="connsiteX10" fmla="*/ 4580791 w 4582621"/>
              <a:gd name="connsiteY10" fmla="*/ 3464427 h 5219140"/>
              <a:gd name="connsiteX11" fmla="*/ 3003437 w 4582621"/>
              <a:gd name="connsiteY11" fmla="*/ 3344707 h 5219140"/>
              <a:gd name="connsiteX12" fmla="*/ 2094145 w 4582621"/>
              <a:gd name="connsiteY12" fmla="*/ 4710029 h 5219140"/>
              <a:gd name="connsiteX13" fmla="*/ 724063 w 4582621"/>
              <a:gd name="connsiteY13" fmla="*/ 5147003 h 5219140"/>
              <a:gd name="connsiteX14" fmla="*/ 48201 w 4582621"/>
              <a:gd name="connsiteY14" fmla="*/ 4245855 h 5219140"/>
              <a:gd name="connsiteX15" fmla="*/ 362873 w 4582621"/>
              <a:gd name="connsiteY15" fmla="*/ 3252392 h 5219140"/>
              <a:gd name="connsiteX0" fmla="*/ 362873 w 4582621"/>
              <a:gd name="connsiteY0" fmla="*/ 3252392 h 5219140"/>
              <a:gd name="connsiteX1" fmla="*/ 154220 w 4582621"/>
              <a:gd name="connsiteY1" fmla="*/ 2324291 h 5219140"/>
              <a:gd name="connsiteX2" fmla="*/ 777072 w 4582621"/>
              <a:gd name="connsiteY2" fmla="*/ 1515906 h 5219140"/>
              <a:gd name="connsiteX3" fmla="*/ 656389 w 4582621"/>
              <a:gd name="connsiteY3" fmla="*/ 518843 h 5219140"/>
              <a:gd name="connsiteX4" fmla="*/ 1031252 w 4582621"/>
              <a:gd name="connsiteY4" fmla="*/ 1684 h 5219140"/>
              <a:gd name="connsiteX5" fmla="*/ 1785216 w 4582621"/>
              <a:gd name="connsiteY5" fmla="*/ 709164 h 5219140"/>
              <a:gd name="connsiteX6" fmla="*/ 2483125 w 4582621"/>
              <a:gd name="connsiteY6" fmla="*/ 1281388 h 5219140"/>
              <a:gd name="connsiteX7" fmla="*/ 3440759 w 4582621"/>
              <a:gd name="connsiteY7" fmla="*/ 1701438 h 5219140"/>
              <a:gd name="connsiteX8" fmla="*/ 3699393 w 4582621"/>
              <a:gd name="connsiteY8" fmla="*/ 2070326 h 5219140"/>
              <a:gd name="connsiteX9" fmla="*/ 3904585 w 4582621"/>
              <a:gd name="connsiteY9" fmla="*/ 2509821 h 5219140"/>
              <a:gd name="connsiteX10" fmla="*/ 4580791 w 4582621"/>
              <a:gd name="connsiteY10" fmla="*/ 3464427 h 5219140"/>
              <a:gd name="connsiteX11" fmla="*/ 3003437 w 4582621"/>
              <a:gd name="connsiteY11" fmla="*/ 3344707 h 5219140"/>
              <a:gd name="connsiteX12" fmla="*/ 2094145 w 4582621"/>
              <a:gd name="connsiteY12" fmla="*/ 4710029 h 5219140"/>
              <a:gd name="connsiteX13" fmla="*/ 724063 w 4582621"/>
              <a:gd name="connsiteY13" fmla="*/ 5147003 h 5219140"/>
              <a:gd name="connsiteX14" fmla="*/ 48201 w 4582621"/>
              <a:gd name="connsiteY14" fmla="*/ 4245855 h 5219140"/>
              <a:gd name="connsiteX15" fmla="*/ 362873 w 4582621"/>
              <a:gd name="connsiteY15" fmla="*/ 3252392 h 5219140"/>
              <a:gd name="connsiteX0" fmla="*/ 362873 w 4582621"/>
              <a:gd name="connsiteY0" fmla="*/ 3252392 h 5219140"/>
              <a:gd name="connsiteX1" fmla="*/ 154220 w 4582621"/>
              <a:gd name="connsiteY1" fmla="*/ 2324291 h 5219140"/>
              <a:gd name="connsiteX2" fmla="*/ 777072 w 4582621"/>
              <a:gd name="connsiteY2" fmla="*/ 1515906 h 5219140"/>
              <a:gd name="connsiteX3" fmla="*/ 656389 w 4582621"/>
              <a:gd name="connsiteY3" fmla="*/ 518843 h 5219140"/>
              <a:gd name="connsiteX4" fmla="*/ 1031252 w 4582621"/>
              <a:gd name="connsiteY4" fmla="*/ 1684 h 5219140"/>
              <a:gd name="connsiteX5" fmla="*/ 1785216 w 4582621"/>
              <a:gd name="connsiteY5" fmla="*/ 709164 h 5219140"/>
              <a:gd name="connsiteX6" fmla="*/ 2483125 w 4582621"/>
              <a:gd name="connsiteY6" fmla="*/ 1281388 h 5219140"/>
              <a:gd name="connsiteX7" fmla="*/ 3425769 w 4582621"/>
              <a:gd name="connsiteY7" fmla="*/ 1671458 h 5219140"/>
              <a:gd name="connsiteX8" fmla="*/ 3699393 w 4582621"/>
              <a:gd name="connsiteY8" fmla="*/ 2070326 h 5219140"/>
              <a:gd name="connsiteX9" fmla="*/ 3904585 w 4582621"/>
              <a:gd name="connsiteY9" fmla="*/ 2509821 h 5219140"/>
              <a:gd name="connsiteX10" fmla="*/ 4580791 w 4582621"/>
              <a:gd name="connsiteY10" fmla="*/ 3464427 h 5219140"/>
              <a:gd name="connsiteX11" fmla="*/ 3003437 w 4582621"/>
              <a:gd name="connsiteY11" fmla="*/ 3344707 h 5219140"/>
              <a:gd name="connsiteX12" fmla="*/ 2094145 w 4582621"/>
              <a:gd name="connsiteY12" fmla="*/ 4710029 h 5219140"/>
              <a:gd name="connsiteX13" fmla="*/ 724063 w 4582621"/>
              <a:gd name="connsiteY13" fmla="*/ 5147003 h 5219140"/>
              <a:gd name="connsiteX14" fmla="*/ 48201 w 4582621"/>
              <a:gd name="connsiteY14" fmla="*/ 4245855 h 5219140"/>
              <a:gd name="connsiteX15" fmla="*/ 362873 w 4582621"/>
              <a:gd name="connsiteY15" fmla="*/ 3252392 h 5219140"/>
              <a:gd name="connsiteX0" fmla="*/ 362873 w 4582621"/>
              <a:gd name="connsiteY0" fmla="*/ 3252392 h 5219140"/>
              <a:gd name="connsiteX1" fmla="*/ 154220 w 4582621"/>
              <a:gd name="connsiteY1" fmla="*/ 2324291 h 5219140"/>
              <a:gd name="connsiteX2" fmla="*/ 777072 w 4582621"/>
              <a:gd name="connsiteY2" fmla="*/ 1515906 h 5219140"/>
              <a:gd name="connsiteX3" fmla="*/ 656389 w 4582621"/>
              <a:gd name="connsiteY3" fmla="*/ 518843 h 5219140"/>
              <a:gd name="connsiteX4" fmla="*/ 1031252 w 4582621"/>
              <a:gd name="connsiteY4" fmla="*/ 1684 h 5219140"/>
              <a:gd name="connsiteX5" fmla="*/ 1785216 w 4582621"/>
              <a:gd name="connsiteY5" fmla="*/ 709164 h 5219140"/>
              <a:gd name="connsiteX6" fmla="*/ 2483125 w 4582621"/>
              <a:gd name="connsiteY6" fmla="*/ 1281388 h 5219140"/>
              <a:gd name="connsiteX7" fmla="*/ 3425769 w 4582621"/>
              <a:gd name="connsiteY7" fmla="*/ 1671458 h 5219140"/>
              <a:gd name="connsiteX8" fmla="*/ 3706888 w 4582621"/>
              <a:gd name="connsiteY8" fmla="*/ 2407605 h 5219140"/>
              <a:gd name="connsiteX9" fmla="*/ 3904585 w 4582621"/>
              <a:gd name="connsiteY9" fmla="*/ 2509821 h 5219140"/>
              <a:gd name="connsiteX10" fmla="*/ 4580791 w 4582621"/>
              <a:gd name="connsiteY10" fmla="*/ 3464427 h 5219140"/>
              <a:gd name="connsiteX11" fmla="*/ 3003437 w 4582621"/>
              <a:gd name="connsiteY11" fmla="*/ 3344707 h 5219140"/>
              <a:gd name="connsiteX12" fmla="*/ 2094145 w 4582621"/>
              <a:gd name="connsiteY12" fmla="*/ 4710029 h 5219140"/>
              <a:gd name="connsiteX13" fmla="*/ 724063 w 4582621"/>
              <a:gd name="connsiteY13" fmla="*/ 5147003 h 5219140"/>
              <a:gd name="connsiteX14" fmla="*/ 48201 w 4582621"/>
              <a:gd name="connsiteY14" fmla="*/ 4245855 h 5219140"/>
              <a:gd name="connsiteX15" fmla="*/ 362873 w 4582621"/>
              <a:gd name="connsiteY15" fmla="*/ 3252392 h 5219140"/>
              <a:gd name="connsiteX0" fmla="*/ 362873 w 4582621"/>
              <a:gd name="connsiteY0" fmla="*/ 3252392 h 5219140"/>
              <a:gd name="connsiteX1" fmla="*/ 154220 w 4582621"/>
              <a:gd name="connsiteY1" fmla="*/ 2324291 h 5219140"/>
              <a:gd name="connsiteX2" fmla="*/ 777072 w 4582621"/>
              <a:gd name="connsiteY2" fmla="*/ 1515906 h 5219140"/>
              <a:gd name="connsiteX3" fmla="*/ 656389 w 4582621"/>
              <a:gd name="connsiteY3" fmla="*/ 518843 h 5219140"/>
              <a:gd name="connsiteX4" fmla="*/ 1031252 w 4582621"/>
              <a:gd name="connsiteY4" fmla="*/ 1684 h 5219140"/>
              <a:gd name="connsiteX5" fmla="*/ 1785216 w 4582621"/>
              <a:gd name="connsiteY5" fmla="*/ 709164 h 5219140"/>
              <a:gd name="connsiteX6" fmla="*/ 2483125 w 4582621"/>
              <a:gd name="connsiteY6" fmla="*/ 1281388 h 5219140"/>
              <a:gd name="connsiteX7" fmla="*/ 3425769 w 4582621"/>
              <a:gd name="connsiteY7" fmla="*/ 1671458 h 5219140"/>
              <a:gd name="connsiteX8" fmla="*/ 3751858 w 4582621"/>
              <a:gd name="connsiteY8" fmla="*/ 2190248 h 5219140"/>
              <a:gd name="connsiteX9" fmla="*/ 3904585 w 4582621"/>
              <a:gd name="connsiteY9" fmla="*/ 2509821 h 5219140"/>
              <a:gd name="connsiteX10" fmla="*/ 4580791 w 4582621"/>
              <a:gd name="connsiteY10" fmla="*/ 3464427 h 5219140"/>
              <a:gd name="connsiteX11" fmla="*/ 3003437 w 4582621"/>
              <a:gd name="connsiteY11" fmla="*/ 3344707 h 5219140"/>
              <a:gd name="connsiteX12" fmla="*/ 2094145 w 4582621"/>
              <a:gd name="connsiteY12" fmla="*/ 4710029 h 5219140"/>
              <a:gd name="connsiteX13" fmla="*/ 724063 w 4582621"/>
              <a:gd name="connsiteY13" fmla="*/ 5147003 h 5219140"/>
              <a:gd name="connsiteX14" fmla="*/ 48201 w 4582621"/>
              <a:gd name="connsiteY14" fmla="*/ 4245855 h 5219140"/>
              <a:gd name="connsiteX15" fmla="*/ 362873 w 4582621"/>
              <a:gd name="connsiteY15" fmla="*/ 3252392 h 5219140"/>
              <a:gd name="connsiteX0" fmla="*/ 362873 w 4583546"/>
              <a:gd name="connsiteY0" fmla="*/ 3252392 h 5219140"/>
              <a:gd name="connsiteX1" fmla="*/ 154220 w 4583546"/>
              <a:gd name="connsiteY1" fmla="*/ 2324291 h 5219140"/>
              <a:gd name="connsiteX2" fmla="*/ 777072 w 4583546"/>
              <a:gd name="connsiteY2" fmla="*/ 1515906 h 5219140"/>
              <a:gd name="connsiteX3" fmla="*/ 656389 w 4583546"/>
              <a:gd name="connsiteY3" fmla="*/ 518843 h 5219140"/>
              <a:gd name="connsiteX4" fmla="*/ 1031252 w 4583546"/>
              <a:gd name="connsiteY4" fmla="*/ 1684 h 5219140"/>
              <a:gd name="connsiteX5" fmla="*/ 1785216 w 4583546"/>
              <a:gd name="connsiteY5" fmla="*/ 709164 h 5219140"/>
              <a:gd name="connsiteX6" fmla="*/ 2483125 w 4583546"/>
              <a:gd name="connsiteY6" fmla="*/ 1281388 h 5219140"/>
              <a:gd name="connsiteX7" fmla="*/ 3425769 w 4583546"/>
              <a:gd name="connsiteY7" fmla="*/ 1671458 h 5219140"/>
              <a:gd name="connsiteX8" fmla="*/ 3751858 w 4583546"/>
              <a:gd name="connsiteY8" fmla="*/ 2190248 h 5219140"/>
              <a:gd name="connsiteX9" fmla="*/ 4099457 w 4583546"/>
              <a:gd name="connsiteY9" fmla="*/ 2802129 h 5219140"/>
              <a:gd name="connsiteX10" fmla="*/ 4580791 w 4583546"/>
              <a:gd name="connsiteY10" fmla="*/ 3464427 h 5219140"/>
              <a:gd name="connsiteX11" fmla="*/ 3003437 w 4583546"/>
              <a:gd name="connsiteY11" fmla="*/ 3344707 h 5219140"/>
              <a:gd name="connsiteX12" fmla="*/ 2094145 w 4583546"/>
              <a:gd name="connsiteY12" fmla="*/ 4710029 h 5219140"/>
              <a:gd name="connsiteX13" fmla="*/ 724063 w 4583546"/>
              <a:gd name="connsiteY13" fmla="*/ 5147003 h 5219140"/>
              <a:gd name="connsiteX14" fmla="*/ 48201 w 4583546"/>
              <a:gd name="connsiteY14" fmla="*/ 4245855 h 5219140"/>
              <a:gd name="connsiteX15" fmla="*/ 362873 w 4583546"/>
              <a:gd name="connsiteY15" fmla="*/ 3252392 h 5219140"/>
              <a:gd name="connsiteX0" fmla="*/ 362873 w 4583444"/>
              <a:gd name="connsiteY0" fmla="*/ 3252392 h 5219140"/>
              <a:gd name="connsiteX1" fmla="*/ 154220 w 4583444"/>
              <a:gd name="connsiteY1" fmla="*/ 2324291 h 5219140"/>
              <a:gd name="connsiteX2" fmla="*/ 777072 w 4583444"/>
              <a:gd name="connsiteY2" fmla="*/ 1515906 h 5219140"/>
              <a:gd name="connsiteX3" fmla="*/ 656389 w 4583444"/>
              <a:gd name="connsiteY3" fmla="*/ 518843 h 5219140"/>
              <a:gd name="connsiteX4" fmla="*/ 1031252 w 4583444"/>
              <a:gd name="connsiteY4" fmla="*/ 1684 h 5219140"/>
              <a:gd name="connsiteX5" fmla="*/ 1785216 w 4583444"/>
              <a:gd name="connsiteY5" fmla="*/ 709164 h 5219140"/>
              <a:gd name="connsiteX6" fmla="*/ 2483125 w 4583444"/>
              <a:gd name="connsiteY6" fmla="*/ 1281388 h 5219140"/>
              <a:gd name="connsiteX7" fmla="*/ 3425769 w 4583444"/>
              <a:gd name="connsiteY7" fmla="*/ 1671458 h 5219140"/>
              <a:gd name="connsiteX8" fmla="*/ 3751858 w 4583444"/>
              <a:gd name="connsiteY8" fmla="*/ 2190248 h 5219140"/>
              <a:gd name="connsiteX9" fmla="*/ 4084467 w 4583444"/>
              <a:gd name="connsiteY9" fmla="*/ 3004496 h 5219140"/>
              <a:gd name="connsiteX10" fmla="*/ 4580791 w 4583444"/>
              <a:gd name="connsiteY10" fmla="*/ 3464427 h 5219140"/>
              <a:gd name="connsiteX11" fmla="*/ 3003437 w 4583444"/>
              <a:gd name="connsiteY11" fmla="*/ 3344707 h 5219140"/>
              <a:gd name="connsiteX12" fmla="*/ 2094145 w 4583444"/>
              <a:gd name="connsiteY12" fmla="*/ 4710029 h 5219140"/>
              <a:gd name="connsiteX13" fmla="*/ 724063 w 4583444"/>
              <a:gd name="connsiteY13" fmla="*/ 5147003 h 5219140"/>
              <a:gd name="connsiteX14" fmla="*/ 48201 w 4583444"/>
              <a:gd name="connsiteY14" fmla="*/ 4245855 h 5219140"/>
              <a:gd name="connsiteX15" fmla="*/ 362873 w 4583444"/>
              <a:gd name="connsiteY15" fmla="*/ 3252392 h 5219140"/>
              <a:gd name="connsiteX0" fmla="*/ 362873 w 4583259"/>
              <a:gd name="connsiteY0" fmla="*/ 3252392 h 5219140"/>
              <a:gd name="connsiteX1" fmla="*/ 154220 w 4583259"/>
              <a:gd name="connsiteY1" fmla="*/ 2324291 h 5219140"/>
              <a:gd name="connsiteX2" fmla="*/ 777072 w 4583259"/>
              <a:gd name="connsiteY2" fmla="*/ 1515906 h 5219140"/>
              <a:gd name="connsiteX3" fmla="*/ 656389 w 4583259"/>
              <a:gd name="connsiteY3" fmla="*/ 518843 h 5219140"/>
              <a:gd name="connsiteX4" fmla="*/ 1031252 w 4583259"/>
              <a:gd name="connsiteY4" fmla="*/ 1684 h 5219140"/>
              <a:gd name="connsiteX5" fmla="*/ 1785216 w 4583259"/>
              <a:gd name="connsiteY5" fmla="*/ 709164 h 5219140"/>
              <a:gd name="connsiteX6" fmla="*/ 2483125 w 4583259"/>
              <a:gd name="connsiteY6" fmla="*/ 1281388 h 5219140"/>
              <a:gd name="connsiteX7" fmla="*/ 3425769 w 4583259"/>
              <a:gd name="connsiteY7" fmla="*/ 1671458 h 5219140"/>
              <a:gd name="connsiteX8" fmla="*/ 3751858 w 4583259"/>
              <a:gd name="connsiteY8" fmla="*/ 2190248 h 5219140"/>
              <a:gd name="connsiteX9" fmla="*/ 4054487 w 4583259"/>
              <a:gd name="connsiteY9" fmla="*/ 2757159 h 5219140"/>
              <a:gd name="connsiteX10" fmla="*/ 4580791 w 4583259"/>
              <a:gd name="connsiteY10" fmla="*/ 3464427 h 5219140"/>
              <a:gd name="connsiteX11" fmla="*/ 3003437 w 4583259"/>
              <a:gd name="connsiteY11" fmla="*/ 3344707 h 5219140"/>
              <a:gd name="connsiteX12" fmla="*/ 2094145 w 4583259"/>
              <a:gd name="connsiteY12" fmla="*/ 4710029 h 5219140"/>
              <a:gd name="connsiteX13" fmla="*/ 724063 w 4583259"/>
              <a:gd name="connsiteY13" fmla="*/ 5147003 h 5219140"/>
              <a:gd name="connsiteX14" fmla="*/ 48201 w 4583259"/>
              <a:gd name="connsiteY14" fmla="*/ 4245855 h 5219140"/>
              <a:gd name="connsiteX15" fmla="*/ 362873 w 4583259"/>
              <a:gd name="connsiteY15" fmla="*/ 3252392 h 5219140"/>
              <a:gd name="connsiteX0" fmla="*/ 362873 w 4583649"/>
              <a:gd name="connsiteY0" fmla="*/ 3252392 h 5219140"/>
              <a:gd name="connsiteX1" fmla="*/ 154220 w 4583649"/>
              <a:gd name="connsiteY1" fmla="*/ 2324291 h 5219140"/>
              <a:gd name="connsiteX2" fmla="*/ 777072 w 4583649"/>
              <a:gd name="connsiteY2" fmla="*/ 1515906 h 5219140"/>
              <a:gd name="connsiteX3" fmla="*/ 656389 w 4583649"/>
              <a:gd name="connsiteY3" fmla="*/ 518843 h 5219140"/>
              <a:gd name="connsiteX4" fmla="*/ 1031252 w 4583649"/>
              <a:gd name="connsiteY4" fmla="*/ 1684 h 5219140"/>
              <a:gd name="connsiteX5" fmla="*/ 1785216 w 4583649"/>
              <a:gd name="connsiteY5" fmla="*/ 709164 h 5219140"/>
              <a:gd name="connsiteX6" fmla="*/ 2483125 w 4583649"/>
              <a:gd name="connsiteY6" fmla="*/ 1281388 h 5219140"/>
              <a:gd name="connsiteX7" fmla="*/ 3425769 w 4583649"/>
              <a:gd name="connsiteY7" fmla="*/ 1671458 h 5219140"/>
              <a:gd name="connsiteX8" fmla="*/ 3751858 w 4583649"/>
              <a:gd name="connsiteY8" fmla="*/ 2190248 h 5219140"/>
              <a:gd name="connsiteX9" fmla="*/ 4054487 w 4583649"/>
              <a:gd name="connsiteY9" fmla="*/ 2757159 h 5219140"/>
              <a:gd name="connsiteX10" fmla="*/ 4580791 w 4583649"/>
              <a:gd name="connsiteY10" fmla="*/ 3464427 h 5219140"/>
              <a:gd name="connsiteX11" fmla="*/ 3003437 w 4583649"/>
              <a:gd name="connsiteY11" fmla="*/ 3344707 h 5219140"/>
              <a:gd name="connsiteX12" fmla="*/ 2094145 w 4583649"/>
              <a:gd name="connsiteY12" fmla="*/ 4710029 h 5219140"/>
              <a:gd name="connsiteX13" fmla="*/ 724063 w 4583649"/>
              <a:gd name="connsiteY13" fmla="*/ 5147003 h 5219140"/>
              <a:gd name="connsiteX14" fmla="*/ 48201 w 4583649"/>
              <a:gd name="connsiteY14" fmla="*/ 4245855 h 5219140"/>
              <a:gd name="connsiteX15" fmla="*/ 362873 w 4583649"/>
              <a:gd name="connsiteY15" fmla="*/ 3252392 h 5219140"/>
              <a:gd name="connsiteX0" fmla="*/ 362873 w 4583649"/>
              <a:gd name="connsiteY0" fmla="*/ 3252392 h 5219140"/>
              <a:gd name="connsiteX1" fmla="*/ 154220 w 4583649"/>
              <a:gd name="connsiteY1" fmla="*/ 2324291 h 5219140"/>
              <a:gd name="connsiteX2" fmla="*/ 777072 w 4583649"/>
              <a:gd name="connsiteY2" fmla="*/ 1515906 h 5219140"/>
              <a:gd name="connsiteX3" fmla="*/ 656389 w 4583649"/>
              <a:gd name="connsiteY3" fmla="*/ 518843 h 5219140"/>
              <a:gd name="connsiteX4" fmla="*/ 1031252 w 4583649"/>
              <a:gd name="connsiteY4" fmla="*/ 1684 h 5219140"/>
              <a:gd name="connsiteX5" fmla="*/ 1785216 w 4583649"/>
              <a:gd name="connsiteY5" fmla="*/ 709164 h 5219140"/>
              <a:gd name="connsiteX6" fmla="*/ 2483125 w 4583649"/>
              <a:gd name="connsiteY6" fmla="*/ 1281388 h 5219140"/>
              <a:gd name="connsiteX7" fmla="*/ 3425769 w 4583649"/>
              <a:gd name="connsiteY7" fmla="*/ 1671458 h 5219140"/>
              <a:gd name="connsiteX8" fmla="*/ 3751858 w 4583649"/>
              <a:gd name="connsiteY8" fmla="*/ 2190248 h 5219140"/>
              <a:gd name="connsiteX9" fmla="*/ 4054487 w 4583649"/>
              <a:gd name="connsiteY9" fmla="*/ 2757159 h 5219140"/>
              <a:gd name="connsiteX10" fmla="*/ 4580791 w 4583649"/>
              <a:gd name="connsiteY10" fmla="*/ 3464427 h 5219140"/>
              <a:gd name="connsiteX11" fmla="*/ 3654422 w 4583649"/>
              <a:gd name="connsiteY11" fmla="*/ 3314510 h 5219140"/>
              <a:gd name="connsiteX12" fmla="*/ 3003437 w 4583649"/>
              <a:gd name="connsiteY12" fmla="*/ 3344707 h 5219140"/>
              <a:gd name="connsiteX13" fmla="*/ 2094145 w 4583649"/>
              <a:gd name="connsiteY13" fmla="*/ 4710029 h 5219140"/>
              <a:gd name="connsiteX14" fmla="*/ 724063 w 4583649"/>
              <a:gd name="connsiteY14" fmla="*/ 5147003 h 5219140"/>
              <a:gd name="connsiteX15" fmla="*/ 48201 w 4583649"/>
              <a:gd name="connsiteY15" fmla="*/ 4245855 h 5219140"/>
              <a:gd name="connsiteX16" fmla="*/ 362873 w 4583649"/>
              <a:gd name="connsiteY16" fmla="*/ 3252392 h 5219140"/>
              <a:gd name="connsiteX0" fmla="*/ 362873 w 4583649"/>
              <a:gd name="connsiteY0" fmla="*/ 3252392 h 5219140"/>
              <a:gd name="connsiteX1" fmla="*/ 154220 w 4583649"/>
              <a:gd name="connsiteY1" fmla="*/ 2324291 h 5219140"/>
              <a:gd name="connsiteX2" fmla="*/ 777072 w 4583649"/>
              <a:gd name="connsiteY2" fmla="*/ 1515906 h 5219140"/>
              <a:gd name="connsiteX3" fmla="*/ 656389 w 4583649"/>
              <a:gd name="connsiteY3" fmla="*/ 518843 h 5219140"/>
              <a:gd name="connsiteX4" fmla="*/ 1031252 w 4583649"/>
              <a:gd name="connsiteY4" fmla="*/ 1684 h 5219140"/>
              <a:gd name="connsiteX5" fmla="*/ 1785216 w 4583649"/>
              <a:gd name="connsiteY5" fmla="*/ 709164 h 5219140"/>
              <a:gd name="connsiteX6" fmla="*/ 2483125 w 4583649"/>
              <a:gd name="connsiteY6" fmla="*/ 1281388 h 5219140"/>
              <a:gd name="connsiteX7" fmla="*/ 3425769 w 4583649"/>
              <a:gd name="connsiteY7" fmla="*/ 1671458 h 5219140"/>
              <a:gd name="connsiteX8" fmla="*/ 3751858 w 4583649"/>
              <a:gd name="connsiteY8" fmla="*/ 2190248 h 5219140"/>
              <a:gd name="connsiteX9" fmla="*/ 4054487 w 4583649"/>
              <a:gd name="connsiteY9" fmla="*/ 2757159 h 5219140"/>
              <a:gd name="connsiteX10" fmla="*/ 4580791 w 4583649"/>
              <a:gd name="connsiteY10" fmla="*/ 3464427 h 5219140"/>
              <a:gd name="connsiteX11" fmla="*/ 3841799 w 4583649"/>
              <a:gd name="connsiteY11" fmla="*/ 3494392 h 5219140"/>
              <a:gd name="connsiteX12" fmla="*/ 3654422 w 4583649"/>
              <a:gd name="connsiteY12" fmla="*/ 3314510 h 5219140"/>
              <a:gd name="connsiteX13" fmla="*/ 3003437 w 4583649"/>
              <a:gd name="connsiteY13" fmla="*/ 3344707 h 5219140"/>
              <a:gd name="connsiteX14" fmla="*/ 2094145 w 4583649"/>
              <a:gd name="connsiteY14" fmla="*/ 4710029 h 5219140"/>
              <a:gd name="connsiteX15" fmla="*/ 724063 w 4583649"/>
              <a:gd name="connsiteY15" fmla="*/ 5147003 h 5219140"/>
              <a:gd name="connsiteX16" fmla="*/ 48201 w 4583649"/>
              <a:gd name="connsiteY16" fmla="*/ 4245855 h 5219140"/>
              <a:gd name="connsiteX17" fmla="*/ 362873 w 4583649"/>
              <a:gd name="connsiteY17" fmla="*/ 3252392 h 5219140"/>
              <a:gd name="connsiteX0" fmla="*/ 362873 w 4583649"/>
              <a:gd name="connsiteY0" fmla="*/ 3252392 h 5219140"/>
              <a:gd name="connsiteX1" fmla="*/ 154220 w 4583649"/>
              <a:gd name="connsiteY1" fmla="*/ 2324291 h 5219140"/>
              <a:gd name="connsiteX2" fmla="*/ 777072 w 4583649"/>
              <a:gd name="connsiteY2" fmla="*/ 1515906 h 5219140"/>
              <a:gd name="connsiteX3" fmla="*/ 656389 w 4583649"/>
              <a:gd name="connsiteY3" fmla="*/ 518843 h 5219140"/>
              <a:gd name="connsiteX4" fmla="*/ 1031252 w 4583649"/>
              <a:gd name="connsiteY4" fmla="*/ 1684 h 5219140"/>
              <a:gd name="connsiteX5" fmla="*/ 1785216 w 4583649"/>
              <a:gd name="connsiteY5" fmla="*/ 709164 h 5219140"/>
              <a:gd name="connsiteX6" fmla="*/ 2483125 w 4583649"/>
              <a:gd name="connsiteY6" fmla="*/ 1281388 h 5219140"/>
              <a:gd name="connsiteX7" fmla="*/ 3425769 w 4583649"/>
              <a:gd name="connsiteY7" fmla="*/ 1671458 h 5219140"/>
              <a:gd name="connsiteX8" fmla="*/ 3751858 w 4583649"/>
              <a:gd name="connsiteY8" fmla="*/ 2190248 h 5219140"/>
              <a:gd name="connsiteX9" fmla="*/ 4054487 w 4583649"/>
              <a:gd name="connsiteY9" fmla="*/ 2757159 h 5219140"/>
              <a:gd name="connsiteX10" fmla="*/ 4580791 w 4583649"/>
              <a:gd name="connsiteY10" fmla="*/ 3464427 h 5219140"/>
              <a:gd name="connsiteX11" fmla="*/ 3841799 w 4583649"/>
              <a:gd name="connsiteY11" fmla="*/ 3494392 h 5219140"/>
              <a:gd name="connsiteX12" fmla="*/ 3354619 w 4583649"/>
              <a:gd name="connsiteY12" fmla="*/ 3322005 h 5219140"/>
              <a:gd name="connsiteX13" fmla="*/ 3003437 w 4583649"/>
              <a:gd name="connsiteY13" fmla="*/ 3344707 h 5219140"/>
              <a:gd name="connsiteX14" fmla="*/ 2094145 w 4583649"/>
              <a:gd name="connsiteY14" fmla="*/ 4710029 h 5219140"/>
              <a:gd name="connsiteX15" fmla="*/ 724063 w 4583649"/>
              <a:gd name="connsiteY15" fmla="*/ 5147003 h 5219140"/>
              <a:gd name="connsiteX16" fmla="*/ 48201 w 4583649"/>
              <a:gd name="connsiteY16" fmla="*/ 4245855 h 5219140"/>
              <a:gd name="connsiteX17" fmla="*/ 362873 w 4583649"/>
              <a:gd name="connsiteY17" fmla="*/ 3252392 h 5219140"/>
              <a:gd name="connsiteX0" fmla="*/ 362873 w 4583649"/>
              <a:gd name="connsiteY0" fmla="*/ 3252392 h 5217211"/>
              <a:gd name="connsiteX1" fmla="*/ 154220 w 4583649"/>
              <a:gd name="connsiteY1" fmla="*/ 2324291 h 5217211"/>
              <a:gd name="connsiteX2" fmla="*/ 777072 w 4583649"/>
              <a:gd name="connsiteY2" fmla="*/ 1515906 h 5217211"/>
              <a:gd name="connsiteX3" fmla="*/ 656389 w 4583649"/>
              <a:gd name="connsiteY3" fmla="*/ 518843 h 5217211"/>
              <a:gd name="connsiteX4" fmla="*/ 1031252 w 4583649"/>
              <a:gd name="connsiteY4" fmla="*/ 1684 h 5217211"/>
              <a:gd name="connsiteX5" fmla="*/ 1785216 w 4583649"/>
              <a:gd name="connsiteY5" fmla="*/ 709164 h 5217211"/>
              <a:gd name="connsiteX6" fmla="*/ 2483125 w 4583649"/>
              <a:gd name="connsiteY6" fmla="*/ 1281388 h 5217211"/>
              <a:gd name="connsiteX7" fmla="*/ 3425769 w 4583649"/>
              <a:gd name="connsiteY7" fmla="*/ 1671458 h 5217211"/>
              <a:gd name="connsiteX8" fmla="*/ 3751858 w 4583649"/>
              <a:gd name="connsiteY8" fmla="*/ 2190248 h 5217211"/>
              <a:gd name="connsiteX9" fmla="*/ 4054487 w 4583649"/>
              <a:gd name="connsiteY9" fmla="*/ 2757159 h 5217211"/>
              <a:gd name="connsiteX10" fmla="*/ 4580791 w 4583649"/>
              <a:gd name="connsiteY10" fmla="*/ 3464427 h 5217211"/>
              <a:gd name="connsiteX11" fmla="*/ 3841799 w 4583649"/>
              <a:gd name="connsiteY11" fmla="*/ 3494392 h 5217211"/>
              <a:gd name="connsiteX12" fmla="*/ 3354619 w 4583649"/>
              <a:gd name="connsiteY12" fmla="*/ 3322005 h 5217211"/>
              <a:gd name="connsiteX13" fmla="*/ 2891011 w 4583649"/>
              <a:gd name="connsiteY13" fmla="*/ 3449638 h 5217211"/>
              <a:gd name="connsiteX14" fmla="*/ 2094145 w 4583649"/>
              <a:gd name="connsiteY14" fmla="*/ 4710029 h 5217211"/>
              <a:gd name="connsiteX15" fmla="*/ 724063 w 4583649"/>
              <a:gd name="connsiteY15" fmla="*/ 5147003 h 5217211"/>
              <a:gd name="connsiteX16" fmla="*/ 48201 w 4583649"/>
              <a:gd name="connsiteY16" fmla="*/ 4245855 h 5217211"/>
              <a:gd name="connsiteX17" fmla="*/ 362873 w 4583649"/>
              <a:gd name="connsiteY17" fmla="*/ 3252392 h 5217211"/>
              <a:gd name="connsiteX0" fmla="*/ 362873 w 4583649"/>
              <a:gd name="connsiteY0" fmla="*/ 3252392 h 5217211"/>
              <a:gd name="connsiteX1" fmla="*/ 154220 w 4583649"/>
              <a:gd name="connsiteY1" fmla="*/ 2324291 h 5217211"/>
              <a:gd name="connsiteX2" fmla="*/ 777072 w 4583649"/>
              <a:gd name="connsiteY2" fmla="*/ 1515906 h 5217211"/>
              <a:gd name="connsiteX3" fmla="*/ 656389 w 4583649"/>
              <a:gd name="connsiteY3" fmla="*/ 518843 h 5217211"/>
              <a:gd name="connsiteX4" fmla="*/ 1031252 w 4583649"/>
              <a:gd name="connsiteY4" fmla="*/ 1684 h 5217211"/>
              <a:gd name="connsiteX5" fmla="*/ 1785216 w 4583649"/>
              <a:gd name="connsiteY5" fmla="*/ 709164 h 5217211"/>
              <a:gd name="connsiteX6" fmla="*/ 2483125 w 4583649"/>
              <a:gd name="connsiteY6" fmla="*/ 1281388 h 5217211"/>
              <a:gd name="connsiteX7" fmla="*/ 3425769 w 4583649"/>
              <a:gd name="connsiteY7" fmla="*/ 1671458 h 5217211"/>
              <a:gd name="connsiteX8" fmla="*/ 3751858 w 4583649"/>
              <a:gd name="connsiteY8" fmla="*/ 2190248 h 5217211"/>
              <a:gd name="connsiteX9" fmla="*/ 4054487 w 4583649"/>
              <a:gd name="connsiteY9" fmla="*/ 2757159 h 5217211"/>
              <a:gd name="connsiteX10" fmla="*/ 4580791 w 4583649"/>
              <a:gd name="connsiteY10" fmla="*/ 3464427 h 5217211"/>
              <a:gd name="connsiteX11" fmla="*/ 3841799 w 4583649"/>
              <a:gd name="connsiteY11" fmla="*/ 3494392 h 5217211"/>
              <a:gd name="connsiteX12" fmla="*/ 3324639 w 4583649"/>
              <a:gd name="connsiteY12" fmla="*/ 3254549 h 5217211"/>
              <a:gd name="connsiteX13" fmla="*/ 2891011 w 4583649"/>
              <a:gd name="connsiteY13" fmla="*/ 3449638 h 5217211"/>
              <a:gd name="connsiteX14" fmla="*/ 2094145 w 4583649"/>
              <a:gd name="connsiteY14" fmla="*/ 4710029 h 5217211"/>
              <a:gd name="connsiteX15" fmla="*/ 724063 w 4583649"/>
              <a:gd name="connsiteY15" fmla="*/ 5147003 h 5217211"/>
              <a:gd name="connsiteX16" fmla="*/ 48201 w 4583649"/>
              <a:gd name="connsiteY16" fmla="*/ 4245855 h 5217211"/>
              <a:gd name="connsiteX17" fmla="*/ 362873 w 4583649"/>
              <a:gd name="connsiteY17" fmla="*/ 3252392 h 5217211"/>
              <a:gd name="connsiteX0" fmla="*/ 362873 w 4583649"/>
              <a:gd name="connsiteY0" fmla="*/ 3252392 h 5217211"/>
              <a:gd name="connsiteX1" fmla="*/ 154220 w 4583649"/>
              <a:gd name="connsiteY1" fmla="*/ 2324291 h 5217211"/>
              <a:gd name="connsiteX2" fmla="*/ 777072 w 4583649"/>
              <a:gd name="connsiteY2" fmla="*/ 1515906 h 5217211"/>
              <a:gd name="connsiteX3" fmla="*/ 656389 w 4583649"/>
              <a:gd name="connsiteY3" fmla="*/ 518843 h 5217211"/>
              <a:gd name="connsiteX4" fmla="*/ 1031252 w 4583649"/>
              <a:gd name="connsiteY4" fmla="*/ 1684 h 5217211"/>
              <a:gd name="connsiteX5" fmla="*/ 1785216 w 4583649"/>
              <a:gd name="connsiteY5" fmla="*/ 709164 h 5217211"/>
              <a:gd name="connsiteX6" fmla="*/ 2483125 w 4583649"/>
              <a:gd name="connsiteY6" fmla="*/ 1281388 h 5217211"/>
              <a:gd name="connsiteX7" fmla="*/ 3425769 w 4583649"/>
              <a:gd name="connsiteY7" fmla="*/ 1671458 h 5217211"/>
              <a:gd name="connsiteX8" fmla="*/ 3751858 w 4583649"/>
              <a:gd name="connsiteY8" fmla="*/ 2190248 h 5217211"/>
              <a:gd name="connsiteX9" fmla="*/ 4054487 w 4583649"/>
              <a:gd name="connsiteY9" fmla="*/ 2757159 h 5217211"/>
              <a:gd name="connsiteX10" fmla="*/ 4580791 w 4583649"/>
              <a:gd name="connsiteY10" fmla="*/ 3464427 h 5217211"/>
              <a:gd name="connsiteX11" fmla="*/ 3841799 w 4583649"/>
              <a:gd name="connsiteY11" fmla="*/ 3494392 h 5217211"/>
              <a:gd name="connsiteX12" fmla="*/ 3227203 w 4583649"/>
              <a:gd name="connsiteY12" fmla="*/ 3254549 h 5217211"/>
              <a:gd name="connsiteX13" fmla="*/ 2891011 w 4583649"/>
              <a:gd name="connsiteY13" fmla="*/ 3449638 h 5217211"/>
              <a:gd name="connsiteX14" fmla="*/ 2094145 w 4583649"/>
              <a:gd name="connsiteY14" fmla="*/ 4710029 h 5217211"/>
              <a:gd name="connsiteX15" fmla="*/ 724063 w 4583649"/>
              <a:gd name="connsiteY15" fmla="*/ 5147003 h 5217211"/>
              <a:gd name="connsiteX16" fmla="*/ 48201 w 4583649"/>
              <a:gd name="connsiteY16" fmla="*/ 4245855 h 5217211"/>
              <a:gd name="connsiteX17" fmla="*/ 362873 w 4583649"/>
              <a:gd name="connsiteY17" fmla="*/ 3252392 h 5217211"/>
              <a:gd name="connsiteX0" fmla="*/ 362873 w 4583649"/>
              <a:gd name="connsiteY0" fmla="*/ 3252392 h 5217211"/>
              <a:gd name="connsiteX1" fmla="*/ 154220 w 4583649"/>
              <a:gd name="connsiteY1" fmla="*/ 2324291 h 5217211"/>
              <a:gd name="connsiteX2" fmla="*/ 777072 w 4583649"/>
              <a:gd name="connsiteY2" fmla="*/ 1515906 h 5217211"/>
              <a:gd name="connsiteX3" fmla="*/ 656389 w 4583649"/>
              <a:gd name="connsiteY3" fmla="*/ 518843 h 5217211"/>
              <a:gd name="connsiteX4" fmla="*/ 1031252 w 4583649"/>
              <a:gd name="connsiteY4" fmla="*/ 1684 h 5217211"/>
              <a:gd name="connsiteX5" fmla="*/ 1785216 w 4583649"/>
              <a:gd name="connsiteY5" fmla="*/ 709164 h 5217211"/>
              <a:gd name="connsiteX6" fmla="*/ 2483125 w 4583649"/>
              <a:gd name="connsiteY6" fmla="*/ 1281388 h 5217211"/>
              <a:gd name="connsiteX7" fmla="*/ 3425769 w 4583649"/>
              <a:gd name="connsiteY7" fmla="*/ 1671458 h 5217211"/>
              <a:gd name="connsiteX8" fmla="*/ 3751858 w 4583649"/>
              <a:gd name="connsiteY8" fmla="*/ 2190248 h 5217211"/>
              <a:gd name="connsiteX9" fmla="*/ 4054487 w 4583649"/>
              <a:gd name="connsiteY9" fmla="*/ 2757159 h 5217211"/>
              <a:gd name="connsiteX10" fmla="*/ 4580791 w 4583649"/>
              <a:gd name="connsiteY10" fmla="*/ 3464427 h 5217211"/>
              <a:gd name="connsiteX11" fmla="*/ 3841799 w 4583649"/>
              <a:gd name="connsiteY11" fmla="*/ 3494392 h 5217211"/>
              <a:gd name="connsiteX12" fmla="*/ 3212212 w 4583649"/>
              <a:gd name="connsiteY12" fmla="*/ 3284529 h 5217211"/>
              <a:gd name="connsiteX13" fmla="*/ 2891011 w 4583649"/>
              <a:gd name="connsiteY13" fmla="*/ 3449638 h 5217211"/>
              <a:gd name="connsiteX14" fmla="*/ 2094145 w 4583649"/>
              <a:gd name="connsiteY14" fmla="*/ 4710029 h 5217211"/>
              <a:gd name="connsiteX15" fmla="*/ 724063 w 4583649"/>
              <a:gd name="connsiteY15" fmla="*/ 5147003 h 5217211"/>
              <a:gd name="connsiteX16" fmla="*/ 48201 w 4583649"/>
              <a:gd name="connsiteY16" fmla="*/ 4245855 h 5217211"/>
              <a:gd name="connsiteX17" fmla="*/ 362873 w 4583649"/>
              <a:gd name="connsiteY17" fmla="*/ 3252392 h 5217211"/>
              <a:gd name="connsiteX0" fmla="*/ 362873 w 4583649"/>
              <a:gd name="connsiteY0" fmla="*/ 3252392 h 5217211"/>
              <a:gd name="connsiteX1" fmla="*/ 154220 w 4583649"/>
              <a:gd name="connsiteY1" fmla="*/ 2324291 h 5217211"/>
              <a:gd name="connsiteX2" fmla="*/ 777072 w 4583649"/>
              <a:gd name="connsiteY2" fmla="*/ 1515906 h 5217211"/>
              <a:gd name="connsiteX3" fmla="*/ 656389 w 4583649"/>
              <a:gd name="connsiteY3" fmla="*/ 518843 h 5217211"/>
              <a:gd name="connsiteX4" fmla="*/ 1031252 w 4583649"/>
              <a:gd name="connsiteY4" fmla="*/ 1684 h 5217211"/>
              <a:gd name="connsiteX5" fmla="*/ 1785216 w 4583649"/>
              <a:gd name="connsiteY5" fmla="*/ 709164 h 5217211"/>
              <a:gd name="connsiteX6" fmla="*/ 2483125 w 4583649"/>
              <a:gd name="connsiteY6" fmla="*/ 1281388 h 5217211"/>
              <a:gd name="connsiteX7" fmla="*/ 3425769 w 4583649"/>
              <a:gd name="connsiteY7" fmla="*/ 1671458 h 5217211"/>
              <a:gd name="connsiteX8" fmla="*/ 3751858 w 4583649"/>
              <a:gd name="connsiteY8" fmla="*/ 2190248 h 5217211"/>
              <a:gd name="connsiteX9" fmla="*/ 4054487 w 4583649"/>
              <a:gd name="connsiteY9" fmla="*/ 2757159 h 5217211"/>
              <a:gd name="connsiteX10" fmla="*/ 4580791 w 4583649"/>
              <a:gd name="connsiteY10" fmla="*/ 3464427 h 5217211"/>
              <a:gd name="connsiteX11" fmla="*/ 3871780 w 4583649"/>
              <a:gd name="connsiteY11" fmla="*/ 3389461 h 5217211"/>
              <a:gd name="connsiteX12" fmla="*/ 3212212 w 4583649"/>
              <a:gd name="connsiteY12" fmla="*/ 3284529 h 5217211"/>
              <a:gd name="connsiteX13" fmla="*/ 2891011 w 4583649"/>
              <a:gd name="connsiteY13" fmla="*/ 3449638 h 5217211"/>
              <a:gd name="connsiteX14" fmla="*/ 2094145 w 4583649"/>
              <a:gd name="connsiteY14" fmla="*/ 4710029 h 5217211"/>
              <a:gd name="connsiteX15" fmla="*/ 724063 w 4583649"/>
              <a:gd name="connsiteY15" fmla="*/ 5147003 h 5217211"/>
              <a:gd name="connsiteX16" fmla="*/ 48201 w 4583649"/>
              <a:gd name="connsiteY16" fmla="*/ 4245855 h 5217211"/>
              <a:gd name="connsiteX17" fmla="*/ 362873 w 4583649"/>
              <a:gd name="connsiteY17" fmla="*/ 3252392 h 5217211"/>
              <a:gd name="connsiteX0" fmla="*/ 362873 w 4583649"/>
              <a:gd name="connsiteY0" fmla="*/ 3252392 h 5217211"/>
              <a:gd name="connsiteX1" fmla="*/ 154220 w 4583649"/>
              <a:gd name="connsiteY1" fmla="*/ 2324291 h 5217211"/>
              <a:gd name="connsiteX2" fmla="*/ 777072 w 4583649"/>
              <a:gd name="connsiteY2" fmla="*/ 1515906 h 5217211"/>
              <a:gd name="connsiteX3" fmla="*/ 656389 w 4583649"/>
              <a:gd name="connsiteY3" fmla="*/ 518843 h 5217211"/>
              <a:gd name="connsiteX4" fmla="*/ 1031252 w 4583649"/>
              <a:gd name="connsiteY4" fmla="*/ 1684 h 5217211"/>
              <a:gd name="connsiteX5" fmla="*/ 1785216 w 4583649"/>
              <a:gd name="connsiteY5" fmla="*/ 709164 h 5217211"/>
              <a:gd name="connsiteX6" fmla="*/ 2483125 w 4583649"/>
              <a:gd name="connsiteY6" fmla="*/ 1281388 h 5217211"/>
              <a:gd name="connsiteX7" fmla="*/ 3425769 w 4583649"/>
              <a:gd name="connsiteY7" fmla="*/ 1671458 h 5217211"/>
              <a:gd name="connsiteX8" fmla="*/ 3751858 w 4583649"/>
              <a:gd name="connsiteY8" fmla="*/ 2190248 h 5217211"/>
              <a:gd name="connsiteX9" fmla="*/ 4054487 w 4583649"/>
              <a:gd name="connsiteY9" fmla="*/ 2757159 h 5217211"/>
              <a:gd name="connsiteX10" fmla="*/ 4580791 w 4583649"/>
              <a:gd name="connsiteY10" fmla="*/ 3464427 h 5217211"/>
              <a:gd name="connsiteX11" fmla="*/ 3894265 w 4583649"/>
              <a:gd name="connsiteY11" fmla="*/ 3486897 h 5217211"/>
              <a:gd name="connsiteX12" fmla="*/ 3212212 w 4583649"/>
              <a:gd name="connsiteY12" fmla="*/ 3284529 h 5217211"/>
              <a:gd name="connsiteX13" fmla="*/ 2891011 w 4583649"/>
              <a:gd name="connsiteY13" fmla="*/ 3449638 h 5217211"/>
              <a:gd name="connsiteX14" fmla="*/ 2094145 w 4583649"/>
              <a:gd name="connsiteY14" fmla="*/ 4710029 h 5217211"/>
              <a:gd name="connsiteX15" fmla="*/ 724063 w 4583649"/>
              <a:gd name="connsiteY15" fmla="*/ 5147003 h 5217211"/>
              <a:gd name="connsiteX16" fmla="*/ 48201 w 4583649"/>
              <a:gd name="connsiteY16" fmla="*/ 4245855 h 5217211"/>
              <a:gd name="connsiteX17" fmla="*/ 362873 w 4583649"/>
              <a:gd name="connsiteY17" fmla="*/ 3252392 h 5217211"/>
              <a:gd name="connsiteX0" fmla="*/ 362873 w 4583649"/>
              <a:gd name="connsiteY0" fmla="*/ 3252392 h 5216542"/>
              <a:gd name="connsiteX1" fmla="*/ 154220 w 4583649"/>
              <a:gd name="connsiteY1" fmla="*/ 2324291 h 5216542"/>
              <a:gd name="connsiteX2" fmla="*/ 777072 w 4583649"/>
              <a:gd name="connsiteY2" fmla="*/ 1515906 h 5216542"/>
              <a:gd name="connsiteX3" fmla="*/ 656389 w 4583649"/>
              <a:gd name="connsiteY3" fmla="*/ 518843 h 5216542"/>
              <a:gd name="connsiteX4" fmla="*/ 1031252 w 4583649"/>
              <a:gd name="connsiteY4" fmla="*/ 1684 h 5216542"/>
              <a:gd name="connsiteX5" fmla="*/ 1785216 w 4583649"/>
              <a:gd name="connsiteY5" fmla="*/ 709164 h 5216542"/>
              <a:gd name="connsiteX6" fmla="*/ 2483125 w 4583649"/>
              <a:gd name="connsiteY6" fmla="*/ 1281388 h 5216542"/>
              <a:gd name="connsiteX7" fmla="*/ 3425769 w 4583649"/>
              <a:gd name="connsiteY7" fmla="*/ 1671458 h 5216542"/>
              <a:gd name="connsiteX8" fmla="*/ 3751858 w 4583649"/>
              <a:gd name="connsiteY8" fmla="*/ 2190248 h 5216542"/>
              <a:gd name="connsiteX9" fmla="*/ 4054487 w 4583649"/>
              <a:gd name="connsiteY9" fmla="*/ 2757159 h 5216542"/>
              <a:gd name="connsiteX10" fmla="*/ 4580791 w 4583649"/>
              <a:gd name="connsiteY10" fmla="*/ 3464427 h 5216542"/>
              <a:gd name="connsiteX11" fmla="*/ 3894265 w 4583649"/>
              <a:gd name="connsiteY11" fmla="*/ 3486897 h 5216542"/>
              <a:gd name="connsiteX12" fmla="*/ 3212212 w 4583649"/>
              <a:gd name="connsiteY12" fmla="*/ 3284529 h 5216542"/>
              <a:gd name="connsiteX13" fmla="*/ 2913496 w 4583649"/>
              <a:gd name="connsiteY13" fmla="*/ 3487113 h 5216542"/>
              <a:gd name="connsiteX14" fmla="*/ 2094145 w 4583649"/>
              <a:gd name="connsiteY14" fmla="*/ 4710029 h 5216542"/>
              <a:gd name="connsiteX15" fmla="*/ 724063 w 4583649"/>
              <a:gd name="connsiteY15" fmla="*/ 5147003 h 5216542"/>
              <a:gd name="connsiteX16" fmla="*/ 48201 w 4583649"/>
              <a:gd name="connsiteY16" fmla="*/ 4245855 h 5216542"/>
              <a:gd name="connsiteX17" fmla="*/ 362873 w 4583649"/>
              <a:gd name="connsiteY17" fmla="*/ 3252392 h 5216542"/>
              <a:gd name="connsiteX0" fmla="*/ 362873 w 4583649"/>
              <a:gd name="connsiteY0" fmla="*/ 3252392 h 5216542"/>
              <a:gd name="connsiteX1" fmla="*/ 154220 w 4583649"/>
              <a:gd name="connsiteY1" fmla="*/ 2324291 h 5216542"/>
              <a:gd name="connsiteX2" fmla="*/ 777072 w 4583649"/>
              <a:gd name="connsiteY2" fmla="*/ 1515906 h 5216542"/>
              <a:gd name="connsiteX3" fmla="*/ 656389 w 4583649"/>
              <a:gd name="connsiteY3" fmla="*/ 518843 h 5216542"/>
              <a:gd name="connsiteX4" fmla="*/ 1031252 w 4583649"/>
              <a:gd name="connsiteY4" fmla="*/ 1684 h 5216542"/>
              <a:gd name="connsiteX5" fmla="*/ 1785216 w 4583649"/>
              <a:gd name="connsiteY5" fmla="*/ 709164 h 5216542"/>
              <a:gd name="connsiteX6" fmla="*/ 2483125 w 4583649"/>
              <a:gd name="connsiteY6" fmla="*/ 1281388 h 5216542"/>
              <a:gd name="connsiteX7" fmla="*/ 3425769 w 4583649"/>
              <a:gd name="connsiteY7" fmla="*/ 1671458 h 5216542"/>
              <a:gd name="connsiteX8" fmla="*/ 3751858 w 4583649"/>
              <a:gd name="connsiteY8" fmla="*/ 2190248 h 5216542"/>
              <a:gd name="connsiteX9" fmla="*/ 4054487 w 4583649"/>
              <a:gd name="connsiteY9" fmla="*/ 2757159 h 5216542"/>
              <a:gd name="connsiteX10" fmla="*/ 4580791 w 4583649"/>
              <a:gd name="connsiteY10" fmla="*/ 3464427 h 5216542"/>
              <a:gd name="connsiteX11" fmla="*/ 3894265 w 4583649"/>
              <a:gd name="connsiteY11" fmla="*/ 3486897 h 5216542"/>
              <a:gd name="connsiteX12" fmla="*/ 3212212 w 4583649"/>
              <a:gd name="connsiteY12" fmla="*/ 3284529 h 5216542"/>
              <a:gd name="connsiteX13" fmla="*/ 2913496 w 4583649"/>
              <a:gd name="connsiteY13" fmla="*/ 3487113 h 5216542"/>
              <a:gd name="connsiteX14" fmla="*/ 2094145 w 4583649"/>
              <a:gd name="connsiteY14" fmla="*/ 4710029 h 5216542"/>
              <a:gd name="connsiteX15" fmla="*/ 724063 w 4583649"/>
              <a:gd name="connsiteY15" fmla="*/ 5147003 h 5216542"/>
              <a:gd name="connsiteX16" fmla="*/ 48201 w 4583649"/>
              <a:gd name="connsiteY16" fmla="*/ 4245855 h 5216542"/>
              <a:gd name="connsiteX17" fmla="*/ 362873 w 4583649"/>
              <a:gd name="connsiteY17" fmla="*/ 3252392 h 5216542"/>
              <a:gd name="connsiteX0" fmla="*/ 362873 w 4583649"/>
              <a:gd name="connsiteY0" fmla="*/ 3252392 h 5209073"/>
              <a:gd name="connsiteX1" fmla="*/ 154220 w 4583649"/>
              <a:gd name="connsiteY1" fmla="*/ 2324291 h 5209073"/>
              <a:gd name="connsiteX2" fmla="*/ 777072 w 4583649"/>
              <a:gd name="connsiteY2" fmla="*/ 1515906 h 5209073"/>
              <a:gd name="connsiteX3" fmla="*/ 656389 w 4583649"/>
              <a:gd name="connsiteY3" fmla="*/ 518843 h 5209073"/>
              <a:gd name="connsiteX4" fmla="*/ 1031252 w 4583649"/>
              <a:gd name="connsiteY4" fmla="*/ 1684 h 5209073"/>
              <a:gd name="connsiteX5" fmla="*/ 1785216 w 4583649"/>
              <a:gd name="connsiteY5" fmla="*/ 709164 h 5209073"/>
              <a:gd name="connsiteX6" fmla="*/ 2483125 w 4583649"/>
              <a:gd name="connsiteY6" fmla="*/ 1281388 h 5209073"/>
              <a:gd name="connsiteX7" fmla="*/ 3425769 w 4583649"/>
              <a:gd name="connsiteY7" fmla="*/ 1671458 h 5209073"/>
              <a:gd name="connsiteX8" fmla="*/ 3751858 w 4583649"/>
              <a:gd name="connsiteY8" fmla="*/ 2190248 h 5209073"/>
              <a:gd name="connsiteX9" fmla="*/ 4054487 w 4583649"/>
              <a:gd name="connsiteY9" fmla="*/ 2757159 h 5209073"/>
              <a:gd name="connsiteX10" fmla="*/ 4580791 w 4583649"/>
              <a:gd name="connsiteY10" fmla="*/ 3464427 h 5209073"/>
              <a:gd name="connsiteX11" fmla="*/ 3894265 w 4583649"/>
              <a:gd name="connsiteY11" fmla="*/ 3486897 h 5209073"/>
              <a:gd name="connsiteX12" fmla="*/ 3212212 w 4583649"/>
              <a:gd name="connsiteY12" fmla="*/ 3284529 h 5209073"/>
              <a:gd name="connsiteX13" fmla="*/ 2741109 w 4583649"/>
              <a:gd name="connsiteY13" fmla="*/ 3951808 h 5209073"/>
              <a:gd name="connsiteX14" fmla="*/ 2094145 w 4583649"/>
              <a:gd name="connsiteY14" fmla="*/ 4710029 h 5209073"/>
              <a:gd name="connsiteX15" fmla="*/ 724063 w 4583649"/>
              <a:gd name="connsiteY15" fmla="*/ 5147003 h 5209073"/>
              <a:gd name="connsiteX16" fmla="*/ 48201 w 4583649"/>
              <a:gd name="connsiteY16" fmla="*/ 4245855 h 5209073"/>
              <a:gd name="connsiteX17" fmla="*/ 362873 w 4583649"/>
              <a:gd name="connsiteY17" fmla="*/ 3252392 h 5209073"/>
              <a:gd name="connsiteX0" fmla="*/ 362873 w 4583649"/>
              <a:gd name="connsiteY0" fmla="*/ 3252392 h 5209073"/>
              <a:gd name="connsiteX1" fmla="*/ 154220 w 4583649"/>
              <a:gd name="connsiteY1" fmla="*/ 2324291 h 5209073"/>
              <a:gd name="connsiteX2" fmla="*/ 777072 w 4583649"/>
              <a:gd name="connsiteY2" fmla="*/ 1515906 h 5209073"/>
              <a:gd name="connsiteX3" fmla="*/ 656389 w 4583649"/>
              <a:gd name="connsiteY3" fmla="*/ 518843 h 5209073"/>
              <a:gd name="connsiteX4" fmla="*/ 1031252 w 4583649"/>
              <a:gd name="connsiteY4" fmla="*/ 1684 h 5209073"/>
              <a:gd name="connsiteX5" fmla="*/ 1785216 w 4583649"/>
              <a:gd name="connsiteY5" fmla="*/ 709164 h 5209073"/>
              <a:gd name="connsiteX6" fmla="*/ 2483125 w 4583649"/>
              <a:gd name="connsiteY6" fmla="*/ 1281388 h 5209073"/>
              <a:gd name="connsiteX7" fmla="*/ 3425769 w 4583649"/>
              <a:gd name="connsiteY7" fmla="*/ 1671458 h 5209073"/>
              <a:gd name="connsiteX8" fmla="*/ 3751858 w 4583649"/>
              <a:gd name="connsiteY8" fmla="*/ 2190248 h 5209073"/>
              <a:gd name="connsiteX9" fmla="*/ 4054487 w 4583649"/>
              <a:gd name="connsiteY9" fmla="*/ 2757159 h 5209073"/>
              <a:gd name="connsiteX10" fmla="*/ 4580791 w 4583649"/>
              <a:gd name="connsiteY10" fmla="*/ 3464427 h 5209073"/>
              <a:gd name="connsiteX11" fmla="*/ 3894265 w 4583649"/>
              <a:gd name="connsiteY11" fmla="*/ 3486897 h 5209073"/>
              <a:gd name="connsiteX12" fmla="*/ 3212212 w 4583649"/>
              <a:gd name="connsiteY12" fmla="*/ 3284529 h 5209073"/>
              <a:gd name="connsiteX13" fmla="*/ 2741109 w 4583649"/>
              <a:gd name="connsiteY13" fmla="*/ 3951808 h 5209073"/>
              <a:gd name="connsiteX14" fmla="*/ 2094145 w 4583649"/>
              <a:gd name="connsiteY14" fmla="*/ 4710029 h 5209073"/>
              <a:gd name="connsiteX15" fmla="*/ 724063 w 4583649"/>
              <a:gd name="connsiteY15" fmla="*/ 5147003 h 5209073"/>
              <a:gd name="connsiteX16" fmla="*/ 48201 w 4583649"/>
              <a:gd name="connsiteY16" fmla="*/ 4245855 h 5209073"/>
              <a:gd name="connsiteX17" fmla="*/ 362873 w 4583649"/>
              <a:gd name="connsiteY17" fmla="*/ 3252392 h 5209073"/>
              <a:gd name="connsiteX0" fmla="*/ 362873 w 4583649"/>
              <a:gd name="connsiteY0" fmla="*/ 3252392 h 5209073"/>
              <a:gd name="connsiteX1" fmla="*/ 154220 w 4583649"/>
              <a:gd name="connsiteY1" fmla="*/ 2324291 h 5209073"/>
              <a:gd name="connsiteX2" fmla="*/ 777072 w 4583649"/>
              <a:gd name="connsiteY2" fmla="*/ 1515906 h 5209073"/>
              <a:gd name="connsiteX3" fmla="*/ 656389 w 4583649"/>
              <a:gd name="connsiteY3" fmla="*/ 518843 h 5209073"/>
              <a:gd name="connsiteX4" fmla="*/ 1031252 w 4583649"/>
              <a:gd name="connsiteY4" fmla="*/ 1684 h 5209073"/>
              <a:gd name="connsiteX5" fmla="*/ 1785216 w 4583649"/>
              <a:gd name="connsiteY5" fmla="*/ 709164 h 5209073"/>
              <a:gd name="connsiteX6" fmla="*/ 2483125 w 4583649"/>
              <a:gd name="connsiteY6" fmla="*/ 1281388 h 5209073"/>
              <a:gd name="connsiteX7" fmla="*/ 3425769 w 4583649"/>
              <a:gd name="connsiteY7" fmla="*/ 1671458 h 5209073"/>
              <a:gd name="connsiteX8" fmla="*/ 3751858 w 4583649"/>
              <a:gd name="connsiteY8" fmla="*/ 2190248 h 5209073"/>
              <a:gd name="connsiteX9" fmla="*/ 4054487 w 4583649"/>
              <a:gd name="connsiteY9" fmla="*/ 2757159 h 5209073"/>
              <a:gd name="connsiteX10" fmla="*/ 4580791 w 4583649"/>
              <a:gd name="connsiteY10" fmla="*/ 3464427 h 5209073"/>
              <a:gd name="connsiteX11" fmla="*/ 3894265 w 4583649"/>
              <a:gd name="connsiteY11" fmla="*/ 3486897 h 5209073"/>
              <a:gd name="connsiteX12" fmla="*/ 3212212 w 4583649"/>
              <a:gd name="connsiteY12" fmla="*/ 3284529 h 5209073"/>
              <a:gd name="connsiteX13" fmla="*/ 2741109 w 4583649"/>
              <a:gd name="connsiteY13" fmla="*/ 3951808 h 5209073"/>
              <a:gd name="connsiteX14" fmla="*/ 2094145 w 4583649"/>
              <a:gd name="connsiteY14" fmla="*/ 4710029 h 5209073"/>
              <a:gd name="connsiteX15" fmla="*/ 724063 w 4583649"/>
              <a:gd name="connsiteY15" fmla="*/ 5147003 h 5209073"/>
              <a:gd name="connsiteX16" fmla="*/ 48201 w 4583649"/>
              <a:gd name="connsiteY16" fmla="*/ 4245855 h 5209073"/>
              <a:gd name="connsiteX17" fmla="*/ 362873 w 4583649"/>
              <a:gd name="connsiteY17" fmla="*/ 3252392 h 5209073"/>
              <a:gd name="connsiteX0" fmla="*/ 362873 w 4583649"/>
              <a:gd name="connsiteY0" fmla="*/ 3252392 h 5217002"/>
              <a:gd name="connsiteX1" fmla="*/ 154220 w 4583649"/>
              <a:gd name="connsiteY1" fmla="*/ 2324291 h 5217002"/>
              <a:gd name="connsiteX2" fmla="*/ 777072 w 4583649"/>
              <a:gd name="connsiteY2" fmla="*/ 1515906 h 5217002"/>
              <a:gd name="connsiteX3" fmla="*/ 656389 w 4583649"/>
              <a:gd name="connsiteY3" fmla="*/ 518843 h 5217002"/>
              <a:gd name="connsiteX4" fmla="*/ 1031252 w 4583649"/>
              <a:gd name="connsiteY4" fmla="*/ 1684 h 5217002"/>
              <a:gd name="connsiteX5" fmla="*/ 1785216 w 4583649"/>
              <a:gd name="connsiteY5" fmla="*/ 709164 h 5217002"/>
              <a:gd name="connsiteX6" fmla="*/ 2483125 w 4583649"/>
              <a:gd name="connsiteY6" fmla="*/ 1281388 h 5217002"/>
              <a:gd name="connsiteX7" fmla="*/ 3425769 w 4583649"/>
              <a:gd name="connsiteY7" fmla="*/ 1671458 h 5217002"/>
              <a:gd name="connsiteX8" fmla="*/ 3751858 w 4583649"/>
              <a:gd name="connsiteY8" fmla="*/ 2190248 h 5217002"/>
              <a:gd name="connsiteX9" fmla="*/ 4054487 w 4583649"/>
              <a:gd name="connsiteY9" fmla="*/ 2757159 h 5217002"/>
              <a:gd name="connsiteX10" fmla="*/ 4580791 w 4583649"/>
              <a:gd name="connsiteY10" fmla="*/ 3464427 h 5217002"/>
              <a:gd name="connsiteX11" fmla="*/ 3894265 w 4583649"/>
              <a:gd name="connsiteY11" fmla="*/ 3486897 h 5217002"/>
              <a:gd name="connsiteX12" fmla="*/ 3212212 w 4583649"/>
              <a:gd name="connsiteY12" fmla="*/ 3284529 h 5217002"/>
              <a:gd name="connsiteX13" fmla="*/ 2741109 w 4583649"/>
              <a:gd name="connsiteY13" fmla="*/ 3951808 h 5217002"/>
              <a:gd name="connsiteX14" fmla="*/ 1839312 w 4583649"/>
              <a:gd name="connsiteY14" fmla="*/ 4784980 h 5217002"/>
              <a:gd name="connsiteX15" fmla="*/ 724063 w 4583649"/>
              <a:gd name="connsiteY15" fmla="*/ 5147003 h 5217002"/>
              <a:gd name="connsiteX16" fmla="*/ 48201 w 4583649"/>
              <a:gd name="connsiteY16" fmla="*/ 4245855 h 5217002"/>
              <a:gd name="connsiteX17" fmla="*/ 362873 w 4583649"/>
              <a:gd name="connsiteY17" fmla="*/ 3252392 h 5217002"/>
              <a:gd name="connsiteX0" fmla="*/ 362873 w 4583649"/>
              <a:gd name="connsiteY0" fmla="*/ 3252392 h 5234565"/>
              <a:gd name="connsiteX1" fmla="*/ 154220 w 4583649"/>
              <a:gd name="connsiteY1" fmla="*/ 2324291 h 5234565"/>
              <a:gd name="connsiteX2" fmla="*/ 777072 w 4583649"/>
              <a:gd name="connsiteY2" fmla="*/ 1515906 h 5234565"/>
              <a:gd name="connsiteX3" fmla="*/ 656389 w 4583649"/>
              <a:gd name="connsiteY3" fmla="*/ 518843 h 5234565"/>
              <a:gd name="connsiteX4" fmla="*/ 1031252 w 4583649"/>
              <a:gd name="connsiteY4" fmla="*/ 1684 h 5234565"/>
              <a:gd name="connsiteX5" fmla="*/ 1785216 w 4583649"/>
              <a:gd name="connsiteY5" fmla="*/ 709164 h 5234565"/>
              <a:gd name="connsiteX6" fmla="*/ 2483125 w 4583649"/>
              <a:gd name="connsiteY6" fmla="*/ 1281388 h 5234565"/>
              <a:gd name="connsiteX7" fmla="*/ 3425769 w 4583649"/>
              <a:gd name="connsiteY7" fmla="*/ 1671458 h 5234565"/>
              <a:gd name="connsiteX8" fmla="*/ 3751858 w 4583649"/>
              <a:gd name="connsiteY8" fmla="*/ 2190248 h 5234565"/>
              <a:gd name="connsiteX9" fmla="*/ 4054487 w 4583649"/>
              <a:gd name="connsiteY9" fmla="*/ 2757159 h 5234565"/>
              <a:gd name="connsiteX10" fmla="*/ 4580791 w 4583649"/>
              <a:gd name="connsiteY10" fmla="*/ 3464427 h 5234565"/>
              <a:gd name="connsiteX11" fmla="*/ 3894265 w 4583649"/>
              <a:gd name="connsiteY11" fmla="*/ 3486897 h 5234565"/>
              <a:gd name="connsiteX12" fmla="*/ 3212212 w 4583649"/>
              <a:gd name="connsiteY12" fmla="*/ 3284529 h 5234565"/>
              <a:gd name="connsiteX13" fmla="*/ 2741109 w 4583649"/>
              <a:gd name="connsiteY13" fmla="*/ 3951808 h 5234565"/>
              <a:gd name="connsiteX14" fmla="*/ 1764361 w 4583649"/>
              <a:gd name="connsiteY14" fmla="*/ 4904901 h 5234565"/>
              <a:gd name="connsiteX15" fmla="*/ 724063 w 4583649"/>
              <a:gd name="connsiteY15" fmla="*/ 5147003 h 5234565"/>
              <a:gd name="connsiteX16" fmla="*/ 48201 w 4583649"/>
              <a:gd name="connsiteY16" fmla="*/ 4245855 h 5234565"/>
              <a:gd name="connsiteX17" fmla="*/ 362873 w 4583649"/>
              <a:gd name="connsiteY17" fmla="*/ 3252392 h 5234565"/>
              <a:gd name="connsiteX0" fmla="*/ 362873 w 4583649"/>
              <a:gd name="connsiteY0" fmla="*/ 3252392 h 5234565"/>
              <a:gd name="connsiteX1" fmla="*/ 154220 w 4583649"/>
              <a:gd name="connsiteY1" fmla="*/ 2324291 h 5234565"/>
              <a:gd name="connsiteX2" fmla="*/ 777072 w 4583649"/>
              <a:gd name="connsiteY2" fmla="*/ 1515906 h 5234565"/>
              <a:gd name="connsiteX3" fmla="*/ 656389 w 4583649"/>
              <a:gd name="connsiteY3" fmla="*/ 518843 h 5234565"/>
              <a:gd name="connsiteX4" fmla="*/ 1031252 w 4583649"/>
              <a:gd name="connsiteY4" fmla="*/ 1684 h 5234565"/>
              <a:gd name="connsiteX5" fmla="*/ 1785216 w 4583649"/>
              <a:gd name="connsiteY5" fmla="*/ 709164 h 5234565"/>
              <a:gd name="connsiteX6" fmla="*/ 2483125 w 4583649"/>
              <a:gd name="connsiteY6" fmla="*/ 1281388 h 5234565"/>
              <a:gd name="connsiteX7" fmla="*/ 3425769 w 4583649"/>
              <a:gd name="connsiteY7" fmla="*/ 1671458 h 5234565"/>
              <a:gd name="connsiteX8" fmla="*/ 3751858 w 4583649"/>
              <a:gd name="connsiteY8" fmla="*/ 2190248 h 5234565"/>
              <a:gd name="connsiteX9" fmla="*/ 4054487 w 4583649"/>
              <a:gd name="connsiteY9" fmla="*/ 2757159 h 5234565"/>
              <a:gd name="connsiteX10" fmla="*/ 4580791 w 4583649"/>
              <a:gd name="connsiteY10" fmla="*/ 3464427 h 5234565"/>
              <a:gd name="connsiteX11" fmla="*/ 3894265 w 4583649"/>
              <a:gd name="connsiteY11" fmla="*/ 3486897 h 5234565"/>
              <a:gd name="connsiteX12" fmla="*/ 3212212 w 4583649"/>
              <a:gd name="connsiteY12" fmla="*/ 3284529 h 5234565"/>
              <a:gd name="connsiteX13" fmla="*/ 2741109 w 4583649"/>
              <a:gd name="connsiteY13" fmla="*/ 3951808 h 5234565"/>
              <a:gd name="connsiteX14" fmla="*/ 1764361 w 4583649"/>
              <a:gd name="connsiteY14" fmla="*/ 4904901 h 5234565"/>
              <a:gd name="connsiteX15" fmla="*/ 724063 w 4583649"/>
              <a:gd name="connsiteY15" fmla="*/ 5147003 h 5234565"/>
              <a:gd name="connsiteX16" fmla="*/ 48201 w 4583649"/>
              <a:gd name="connsiteY16" fmla="*/ 4245855 h 5234565"/>
              <a:gd name="connsiteX17" fmla="*/ 362873 w 4583649"/>
              <a:gd name="connsiteY17" fmla="*/ 3252392 h 5234565"/>
              <a:gd name="connsiteX0" fmla="*/ 362873 w 4583649"/>
              <a:gd name="connsiteY0" fmla="*/ 3252392 h 5234565"/>
              <a:gd name="connsiteX1" fmla="*/ 154220 w 4583649"/>
              <a:gd name="connsiteY1" fmla="*/ 2324291 h 5234565"/>
              <a:gd name="connsiteX2" fmla="*/ 777072 w 4583649"/>
              <a:gd name="connsiteY2" fmla="*/ 1515906 h 5234565"/>
              <a:gd name="connsiteX3" fmla="*/ 656389 w 4583649"/>
              <a:gd name="connsiteY3" fmla="*/ 518843 h 5234565"/>
              <a:gd name="connsiteX4" fmla="*/ 1031252 w 4583649"/>
              <a:gd name="connsiteY4" fmla="*/ 1684 h 5234565"/>
              <a:gd name="connsiteX5" fmla="*/ 1785216 w 4583649"/>
              <a:gd name="connsiteY5" fmla="*/ 709164 h 5234565"/>
              <a:gd name="connsiteX6" fmla="*/ 2483125 w 4583649"/>
              <a:gd name="connsiteY6" fmla="*/ 1281388 h 5234565"/>
              <a:gd name="connsiteX7" fmla="*/ 3425769 w 4583649"/>
              <a:gd name="connsiteY7" fmla="*/ 1671458 h 5234565"/>
              <a:gd name="connsiteX8" fmla="*/ 3751858 w 4583649"/>
              <a:gd name="connsiteY8" fmla="*/ 2190248 h 5234565"/>
              <a:gd name="connsiteX9" fmla="*/ 4054487 w 4583649"/>
              <a:gd name="connsiteY9" fmla="*/ 2757159 h 5234565"/>
              <a:gd name="connsiteX10" fmla="*/ 4580791 w 4583649"/>
              <a:gd name="connsiteY10" fmla="*/ 3464427 h 5234565"/>
              <a:gd name="connsiteX11" fmla="*/ 3894265 w 4583649"/>
              <a:gd name="connsiteY11" fmla="*/ 3486897 h 5234565"/>
              <a:gd name="connsiteX12" fmla="*/ 3212212 w 4583649"/>
              <a:gd name="connsiteY12" fmla="*/ 3284529 h 5234565"/>
              <a:gd name="connsiteX13" fmla="*/ 2741109 w 4583649"/>
              <a:gd name="connsiteY13" fmla="*/ 3951808 h 5234565"/>
              <a:gd name="connsiteX14" fmla="*/ 1764361 w 4583649"/>
              <a:gd name="connsiteY14" fmla="*/ 4904901 h 5234565"/>
              <a:gd name="connsiteX15" fmla="*/ 724063 w 4583649"/>
              <a:gd name="connsiteY15" fmla="*/ 5147003 h 5234565"/>
              <a:gd name="connsiteX16" fmla="*/ 48201 w 4583649"/>
              <a:gd name="connsiteY16" fmla="*/ 4245855 h 5234565"/>
              <a:gd name="connsiteX17" fmla="*/ 362873 w 4583649"/>
              <a:gd name="connsiteY17" fmla="*/ 3252392 h 5234565"/>
              <a:gd name="connsiteX0" fmla="*/ 362873 w 4583649"/>
              <a:gd name="connsiteY0" fmla="*/ 3252392 h 5234565"/>
              <a:gd name="connsiteX1" fmla="*/ 154220 w 4583649"/>
              <a:gd name="connsiteY1" fmla="*/ 2324291 h 5234565"/>
              <a:gd name="connsiteX2" fmla="*/ 777072 w 4583649"/>
              <a:gd name="connsiteY2" fmla="*/ 1515906 h 5234565"/>
              <a:gd name="connsiteX3" fmla="*/ 656389 w 4583649"/>
              <a:gd name="connsiteY3" fmla="*/ 518843 h 5234565"/>
              <a:gd name="connsiteX4" fmla="*/ 1031252 w 4583649"/>
              <a:gd name="connsiteY4" fmla="*/ 1684 h 5234565"/>
              <a:gd name="connsiteX5" fmla="*/ 1785216 w 4583649"/>
              <a:gd name="connsiteY5" fmla="*/ 709164 h 5234565"/>
              <a:gd name="connsiteX6" fmla="*/ 2483125 w 4583649"/>
              <a:gd name="connsiteY6" fmla="*/ 1281388 h 5234565"/>
              <a:gd name="connsiteX7" fmla="*/ 3425769 w 4583649"/>
              <a:gd name="connsiteY7" fmla="*/ 1671458 h 5234565"/>
              <a:gd name="connsiteX8" fmla="*/ 3751858 w 4583649"/>
              <a:gd name="connsiteY8" fmla="*/ 2190248 h 5234565"/>
              <a:gd name="connsiteX9" fmla="*/ 4054487 w 4583649"/>
              <a:gd name="connsiteY9" fmla="*/ 2757159 h 5234565"/>
              <a:gd name="connsiteX10" fmla="*/ 4580791 w 4583649"/>
              <a:gd name="connsiteY10" fmla="*/ 3464427 h 5234565"/>
              <a:gd name="connsiteX11" fmla="*/ 3894265 w 4583649"/>
              <a:gd name="connsiteY11" fmla="*/ 3486897 h 5234565"/>
              <a:gd name="connsiteX12" fmla="*/ 3212212 w 4583649"/>
              <a:gd name="connsiteY12" fmla="*/ 3284529 h 5234565"/>
              <a:gd name="connsiteX13" fmla="*/ 2741109 w 4583649"/>
              <a:gd name="connsiteY13" fmla="*/ 3951808 h 5234565"/>
              <a:gd name="connsiteX14" fmla="*/ 1764361 w 4583649"/>
              <a:gd name="connsiteY14" fmla="*/ 4904901 h 5234565"/>
              <a:gd name="connsiteX15" fmla="*/ 724063 w 4583649"/>
              <a:gd name="connsiteY15" fmla="*/ 5147003 h 5234565"/>
              <a:gd name="connsiteX16" fmla="*/ 48201 w 4583649"/>
              <a:gd name="connsiteY16" fmla="*/ 4245855 h 5234565"/>
              <a:gd name="connsiteX17" fmla="*/ 362873 w 4583649"/>
              <a:gd name="connsiteY17" fmla="*/ 3252392 h 5234565"/>
              <a:gd name="connsiteX0" fmla="*/ 362873 w 4583649"/>
              <a:gd name="connsiteY0" fmla="*/ 3252392 h 5160283"/>
              <a:gd name="connsiteX1" fmla="*/ 154220 w 4583649"/>
              <a:gd name="connsiteY1" fmla="*/ 2324291 h 5160283"/>
              <a:gd name="connsiteX2" fmla="*/ 777072 w 4583649"/>
              <a:gd name="connsiteY2" fmla="*/ 1515906 h 5160283"/>
              <a:gd name="connsiteX3" fmla="*/ 656389 w 4583649"/>
              <a:gd name="connsiteY3" fmla="*/ 518843 h 5160283"/>
              <a:gd name="connsiteX4" fmla="*/ 1031252 w 4583649"/>
              <a:gd name="connsiteY4" fmla="*/ 1684 h 5160283"/>
              <a:gd name="connsiteX5" fmla="*/ 1785216 w 4583649"/>
              <a:gd name="connsiteY5" fmla="*/ 709164 h 5160283"/>
              <a:gd name="connsiteX6" fmla="*/ 2483125 w 4583649"/>
              <a:gd name="connsiteY6" fmla="*/ 1281388 h 5160283"/>
              <a:gd name="connsiteX7" fmla="*/ 3425769 w 4583649"/>
              <a:gd name="connsiteY7" fmla="*/ 1671458 h 5160283"/>
              <a:gd name="connsiteX8" fmla="*/ 3751858 w 4583649"/>
              <a:gd name="connsiteY8" fmla="*/ 2190248 h 5160283"/>
              <a:gd name="connsiteX9" fmla="*/ 4054487 w 4583649"/>
              <a:gd name="connsiteY9" fmla="*/ 2757159 h 5160283"/>
              <a:gd name="connsiteX10" fmla="*/ 4580791 w 4583649"/>
              <a:gd name="connsiteY10" fmla="*/ 3464427 h 5160283"/>
              <a:gd name="connsiteX11" fmla="*/ 3894265 w 4583649"/>
              <a:gd name="connsiteY11" fmla="*/ 3486897 h 5160283"/>
              <a:gd name="connsiteX12" fmla="*/ 3212212 w 4583649"/>
              <a:gd name="connsiteY12" fmla="*/ 3284529 h 5160283"/>
              <a:gd name="connsiteX13" fmla="*/ 2741109 w 4583649"/>
              <a:gd name="connsiteY13" fmla="*/ 3951808 h 5160283"/>
              <a:gd name="connsiteX14" fmla="*/ 1764361 w 4583649"/>
              <a:gd name="connsiteY14" fmla="*/ 4904901 h 5160283"/>
              <a:gd name="connsiteX15" fmla="*/ 724063 w 4583649"/>
              <a:gd name="connsiteY15" fmla="*/ 5147003 h 5160283"/>
              <a:gd name="connsiteX16" fmla="*/ 48201 w 4583649"/>
              <a:gd name="connsiteY16" fmla="*/ 4245855 h 5160283"/>
              <a:gd name="connsiteX17" fmla="*/ 362873 w 4583649"/>
              <a:gd name="connsiteY17" fmla="*/ 3252392 h 5160283"/>
              <a:gd name="connsiteX0" fmla="*/ 362873 w 4583649"/>
              <a:gd name="connsiteY0" fmla="*/ 3252392 h 5216943"/>
              <a:gd name="connsiteX1" fmla="*/ 154220 w 4583649"/>
              <a:gd name="connsiteY1" fmla="*/ 2324291 h 5216943"/>
              <a:gd name="connsiteX2" fmla="*/ 777072 w 4583649"/>
              <a:gd name="connsiteY2" fmla="*/ 1515906 h 5216943"/>
              <a:gd name="connsiteX3" fmla="*/ 656389 w 4583649"/>
              <a:gd name="connsiteY3" fmla="*/ 518843 h 5216943"/>
              <a:gd name="connsiteX4" fmla="*/ 1031252 w 4583649"/>
              <a:gd name="connsiteY4" fmla="*/ 1684 h 5216943"/>
              <a:gd name="connsiteX5" fmla="*/ 1785216 w 4583649"/>
              <a:gd name="connsiteY5" fmla="*/ 709164 h 5216943"/>
              <a:gd name="connsiteX6" fmla="*/ 2483125 w 4583649"/>
              <a:gd name="connsiteY6" fmla="*/ 1281388 h 5216943"/>
              <a:gd name="connsiteX7" fmla="*/ 3425769 w 4583649"/>
              <a:gd name="connsiteY7" fmla="*/ 1671458 h 5216943"/>
              <a:gd name="connsiteX8" fmla="*/ 3751858 w 4583649"/>
              <a:gd name="connsiteY8" fmla="*/ 2190248 h 5216943"/>
              <a:gd name="connsiteX9" fmla="*/ 4054487 w 4583649"/>
              <a:gd name="connsiteY9" fmla="*/ 2757159 h 5216943"/>
              <a:gd name="connsiteX10" fmla="*/ 4580791 w 4583649"/>
              <a:gd name="connsiteY10" fmla="*/ 3464427 h 5216943"/>
              <a:gd name="connsiteX11" fmla="*/ 3894265 w 4583649"/>
              <a:gd name="connsiteY11" fmla="*/ 3486897 h 5216943"/>
              <a:gd name="connsiteX12" fmla="*/ 3212212 w 4583649"/>
              <a:gd name="connsiteY12" fmla="*/ 3284529 h 5216943"/>
              <a:gd name="connsiteX13" fmla="*/ 2741109 w 4583649"/>
              <a:gd name="connsiteY13" fmla="*/ 3951808 h 5216943"/>
              <a:gd name="connsiteX14" fmla="*/ 1764361 w 4583649"/>
              <a:gd name="connsiteY14" fmla="*/ 4904901 h 5216943"/>
              <a:gd name="connsiteX15" fmla="*/ 761539 w 4583649"/>
              <a:gd name="connsiteY15" fmla="*/ 5206964 h 5216943"/>
              <a:gd name="connsiteX16" fmla="*/ 48201 w 4583649"/>
              <a:gd name="connsiteY16" fmla="*/ 4245855 h 5216943"/>
              <a:gd name="connsiteX17" fmla="*/ 362873 w 4583649"/>
              <a:gd name="connsiteY17" fmla="*/ 3252392 h 5216943"/>
              <a:gd name="connsiteX0" fmla="*/ 362873 w 4583649"/>
              <a:gd name="connsiteY0" fmla="*/ 3252392 h 5216943"/>
              <a:gd name="connsiteX1" fmla="*/ 154220 w 4583649"/>
              <a:gd name="connsiteY1" fmla="*/ 2324291 h 5216943"/>
              <a:gd name="connsiteX2" fmla="*/ 777072 w 4583649"/>
              <a:gd name="connsiteY2" fmla="*/ 1515906 h 5216943"/>
              <a:gd name="connsiteX3" fmla="*/ 656389 w 4583649"/>
              <a:gd name="connsiteY3" fmla="*/ 518843 h 5216943"/>
              <a:gd name="connsiteX4" fmla="*/ 1031252 w 4583649"/>
              <a:gd name="connsiteY4" fmla="*/ 1684 h 5216943"/>
              <a:gd name="connsiteX5" fmla="*/ 1785216 w 4583649"/>
              <a:gd name="connsiteY5" fmla="*/ 709164 h 5216943"/>
              <a:gd name="connsiteX6" fmla="*/ 2483125 w 4583649"/>
              <a:gd name="connsiteY6" fmla="*/ 1281388 h 5216943"/>
              <a:gd name="connsiteX7" fmla="*/ 3425769 w 4583649"/>
              <a:gd name="connsiteY7" fmla="*/ 1671458 h 5216943"/>
              <a:gd name="connsiteX8" fmla="*/ 3751858 w 4583649"/>
              <a:gd name="connsiteY8" fmla="*/ 2190248 h 5216943"/>
              <a:gd name="connsiteX9" fmla="*/ 4054487 w 4583649"/>
              <a:gd name="connsiteY9" fmla="*/ 2757159 h 5216943"/>
              <a:gd name="connsiteX10" fmla="*/ 4580791 w 4583649"/>
              <a:gd name="connsiteY10" fmla="*/ 3464427 h 5216943"/>
              <a:gd name="connsiteX11" fmla="*/ 3894265 w 4583649"/>
              <a:gd name="connsiteY11" fmla="*/ 3486897 h 5216943"/>
              <a:gd name="connsiteX12" fmla="*/ 3212212 w 4583649"/>
              <a:gd name="connsiteY12" fmla="*/ 3284529 h 5216943"/>
              <a:gd name="connsiteX13" fmla="*/ 2741109 w 4583649"/>
              <a:gd name="connsiteY13" fmla="*/ 3951808 h 5216943"/>
              <a:gd name="connsiteX14" fmla="*/ 1764361 w 4583649"/>
              <a:gd name="connsiteY14" fmla="*/ 4904901 h 5216943"/>
              <a:gd name="connsiteX15" fmla="*/ 761539 w 4583649"/>
              <a:gd name="connsiteY15" fmla="*/ 5206964 h 5216943"/>
              <a:gd name="connsiteX16" fmla="*/ 48201 w 4583649"/>
              <a:gd name="connsiteY16" fmla="*/ 4245855 h 5216943"/>
              <a:gd name="connsiteX17" fmla="*/ 362873 w 4583649"/>
              <a:gd name="connsiteY17" fmla="*/ 3252392 h 5216943"/>
              <a:gd name="connsiteX0" fmla="*/ 391023 w 4611799"/>
              <a:gd name="connsiteY0" fmla="*/ 3252392 h 5216943"/>
              <a:gd name="connsiteX1" fmla="*/ 182370 w 4611799"/>
              <a:gd name="connsiteY1" fmla="*/ 2324291 h 5216943"/>
              <a:gd name="connsiteX2" fmla="*/ 805222 w 4611799"/>
              <a:gd name="connsiteY2" fmla="*/ 1515906 h 5216943"/>
              <a:gd name="connsiteX3" fmla="*/ 684539 w 4611799"/>
              <a:gd name="connsiteY3" fmla="*/ 518843 h 5216943"/>
              <a:gd name="connsiteX4" fmla="*/ 1059402 w 4611799"/>
              <a:gd name="connsiteY4" fmla="*/ 1684 h 5216943"/>
              <a:gd name="connsiteX5" fmla="*/ 1813366 w 4611799"/>
              <a:gd name="connsiteY5" fmla="*/ 709164 h 5216943"/>
              <a:gd name="connsiteX6" fmla="*/ 2511275 w 4611799"/>
              <a:gd name="connsiteY6" fmla="*/ 1281388 h 5216943"/>
              <a:gd name="connsiteX7" fmla="*/ 3453919 w 4611799"/>
              <a:gd name="connsiteY7" fmla="*/ 1671458 h 5216943"/>
              <a:gd name="connsiteX8" fmla="*/ 3780008 w 4611799"/>
              <a:gd name="connsiteY8" fmla="*/ 2190248 h 5216943"/>
              <a:gd name="connsiteX9" fmla="*/ 4082637 w 4611799"/>
              <a:gd name="connsiteY9" fmla="*/ 2757159 h 5216943"/>
              <a:gd name="connsiteX10" fmla="*/ 4608941 w 4611799"/>
              <a:gd name="connsiteY10" fmla="*/ 3464427 h 5216943"/>
              <a:gd name="connsiteX11" fmla="*/ 3922415 w 4611799"/>
              <a:gd name="connsiteY11" fmla="*/ 3486897 h 5216943"/>
              <a:gd name="connsiteX12" fmla="*/ 3240362 w 4611799"/>
              <a:gd name="connsiteY12" fmla="*/ 3284529 h 5216943"/>
              <a:gd name="connsiteX13" fmla="*/ 2769259 w 4611799"/>
              <a:gd name="connsiteY13" fmla="*/ 3951808 h 5216943"/>
              <a:gd name="connsiteX14" fmla="*/ 1792511 w 4611799"/>
              <a:gd name="connsiteY14" fmla="*/ 4904901 h 5216943"/>
              <a:gd name="connsiteX15" fmla="*/ 789689 w 4611799"/>
              <a:gd name="connsiteY15" fmla="*/ 5206964 h 5216943"/>
              <a:gd name="connsiteX16" fmla="*/ 46371 w 4611799"/>
              <a:gd name="connsiteY16" fmla="*/ 4253350 h 5216943"/>
              <a:gd name="connsiteX17" fmla="*/ 391023 w 4611799"/>
              <a:gd name="connsiteY17" fmla="*/ 3252392 h 5216943"/>
              <a:gd name="connsiteX0" fmla="*/ 348621 w 4569397"/>
              <a:gd name="connsiteY0" fmla="*/ 3252392 h 5216943"/>
              <a:gd name="connsiteX1" fmla="*/ 139968 w 4569397"/>
              <a:gd name="connsiteY1" fmla="*/ 2324291 h 5216943"/>
              <a:gd name="connsiteX2" fmla="*/ 762820 w 4569397"/>
              <a:gd name="connsiteY2" fmla="*/ 1515906 h 5216943"/>
              <a:gd name="connsiteX3" fmla="*/ 642137 w 4569397"/>
              <a:gd name="connsiteY3" fmla="*/ 518843 h 5216943"/>
              <a:gd name="connsiteX4" fmla="*/ 1017000 w 4569397"/>
              <a:gd name="connsiteY4" fmla="*/ 1684 h 5216943"/>
              <a:gd name="connsiteX5" fmla="*/ 1770964 w 4569397"/>
              <a:gd name="connsiteY5" fmla="*/ 709164 h 5216943"/>
              <a:gd name="connsiteX6" fmla="*/ 2468873 w 4569397"/>
              <a:gd name="connsiteY6" fmla="*/ 1281388 h 5216943"/>
              <a:gd name="connsiteX7" fmla="*/ 3411517 w 4569397"/>
              <a:gd name="connsiteY7" fmla="*/ 1671458 h 5216943"/>
              <a:gd name="connsiteX8" fmla="*/ 3737606 w 4569397"/>
              <a:gd name="connsiteY8" fmla="*/ 2190248 h 5216943"/>
              <a:gd name="connsiteX9" fmla="*/ 4040235 w 4569397"/>
              <a:gd name="connsiteY9" fmla="*/ 2757159 h 5216943"/>
              <a:gd name="connsiteX10" fmla="*/ 4566539 w 4569397"/>
              <a:gd name="connsiteY10" fmla="*/ 3464427 h 5216943"/>
              <a:gd name="connsiteX11" fmla="*/ 3880013 w 4569397"/>
              <a:gd name="connsiteY11" fmla="*/ 3486897 h 5216943"/>
              <a:gd name="connsiteX12" fmla="*/ 3197960 w 4569397"/>
              <a:gd name="connsiteY12" fmla="*/ 3284529 h 5216943"/>
              <a:gd name="connsiteX13" fmla="*/ 2726857 w 4569397"/>
              <a:gd name="connsiteY13" fmla="*/ 3951808 h 5216943"/>
              <a:gd name="connsiteX14" fmla="*/ 1750109 w 4569397"/>
              <a:gd name="connsiteY14" fmla="*/ 4904901 h 5216943"/>
              <a:gd name="connsiteX15" fmla="*/ 747287 w 4569397"/>
              <a:gd name="connsiteY15" fmla="*/ 5206964 h 5216943"/>
              <a:gd name="connsiteX16" fmla="*/ 3969 w 4569397"/>
              <a:gd name="connsiteY16" fmla="*/ 4253350 h 5216943"/>
              <a:gd name="connsiteX17" fmla="*/ 348621 w 4569397"/>
              <a:gd name="connsiteY17" fmla="*/ 3252392 h 5216943"/>
              <a:gd name="connsiteX0" fmla="*/ 348621 w 4569397"/>
              <a:gd name="connsiteY0" fmla="*/ 3252392 h 5216943"/>
              <a:gd name="connsiteX1" fmla="*/ 139968 w 4569397"/>
              <a:gd name="connsiteY1" fmla="*/ 2324291 h 5216943"/>
              <a:gd name="connsiteX2" fmla="*/ 762820 w 4569397"/>
              <a:gd name="connsiteY2" fmla="*/ 1515906 h 5216943"/>
              <a:gd name="connsiteX3" fmla="*/ 642137 w 4569397"/>
              <a:gd name="connsiteY3" fmla="*/ 518843 h 5216943"/>
              <a:gd name="connsiteX4" fmla="*/ 1017000 w 4569397"/>
              <a:gd name="connsiteY4" fmla="*/ 1684 h 5216943"/>
              <a:gd name="connsiteX5" fmla="*/ 1770964 w 4569397"/>
              <a:gd name="connsiteY5" fmla="*/ 709164 h 5216943"/>
              <a:gd name="connsiteX6" fmla="*/ 2468873 w 4569397"/>
              <a:gd name="connsiteY6" fmla="*/ 1281388 h 5216943"/>
              <a:gd name="connsiteX7" fmla="*/ 3411517 w 4569397"/>
              <a:gd name="connsiteY7" fmla="*/ 1671458 h 5216943"/>
              <a:gd name="connsiteX8" fmla="*/ 3737606 w 4569397"/>
              <a:gd name="connsiteY8" fmla="*/ 2190248 h 5216943"/>
              <a:gd name="connsiteX9" fmla="*/ 4040235 w 4569397"/>
              <a:gd name="connsiteY9" fmla="*/ 2757159 h 5216943"/>
              <a:gd name="connsiteX10" fmla="*/ 4566539 w 4569397"/>
              <a:gd name="connsiteY10" fmla="*/ 3464427 h 5216943"/>
              <a:gd name="connsiteX11" fmla="*/ 3880013 w 4569397"/>
              <a:gd name="connsiteY11" fmla="*/ 3486897 h 5216943"/>
              <a:gd name="connsiteX12" fmla="*/ 3197960 w 4569397"/>
              <a:gd name="connsiteY12" fmla="*/ 3284529 h 5216943"/>
              <a:gd name="connsiteX13" fmla="*/ 2726857 w 4569397"/>
              <a:gd name="connsiteY13" fmla="*/ 3951808 h 5216943"/>
              <a:gd name="connsiteX14" fmla="*/ 1750109 w 4569397"/>
              <a:gd name="connsiteY14" fmla="*/ 4904901 h 5216943"/>
              <a:gd name="connsiteX15" fmla="*/ 747287 w 4569397"/>
              <a:gd name="connsiteY15" fmla="*/ 5206964 h 5216943"/>
              <a:gd name="connsiteX16" fmla="*/ 3969 w 4569397"/>
              <a:gd name="connsiteY16" fmla="*/ 4253350 h 5216943"/>
              <a:gd name="connsiteX17" fmla="*/ 348621 w 4569397"/>
              <a:gd name="connsiteY17" fmla="*/ 3252392 h 5216943"/>
              <a:gd name="connsiteX0" fmla="*/ 344653 w 4565429"/>
              <a:gd name="connsiteY0" fmla="*/ 3252392 h 5216943"/>
              <a:gd name="connsiteX1" fmla="*/ 136000 w 4565429"/>
              <a:gd name="connsiteY1" fmla="*/ 2324291 h 5216943"/>
              <a:gd name="connsiteX2" fmla="*/ 758852 w 4565429"/>
              <a:gd name="connsiteY2" fmla="*/ 1515906 h 5216943"/>
              <a:gd name="connsiteX3" fmla="*/ 638169 w 4565429"/>
              <a:gd name="connsiteY3" fmla="*/ 518843 h 5216943"/>
              <a:gd name="connsiteX4" fmla="*/ 1013032 w 4565429"/>
              <a:gd name="connsiteY4" fmla="*/ 1684 h 5216943"/>
              <a:gd name="connsiteX5" fmla="*/ 1766996 w 4565429"/>
              <a:gd name="connsiteY5" fmla="*/ 709164 h 5216943"/>
              <a:gd name="connsiteX6" fmla="*/ 2464905 w 4565429"/>
              <a:gd name="connsiteY6" fmla="*/ 1281388 h 5216943"/>
              <a:gd name="connsiteX7" fmla="*/ 3407549 w 4565429"/>
              <a:gd name="connsiteY7" fmla="*/ 1671458 h 5216943"/>
              <a:gd name="connsiteX8" fmla="*/ 3733638 w 4565429"/>
              <a:gd name="connsiteY8" fmla="*/ 2190248 h 5216943"/>
              <a:gd name="connsiteX9" fmla="*/ 4036267 w 4565429"/>
              <a:gd name="connsiteY9" fmla="*/ 2757159 h 5216943"/>
              <a:gd name="connsiteX10" fmla="*/ 4562571 w 4565429"/>
              <a:gd name="connsiteY10" fmla="*/ 3464427 h 5216943"/>
              <a:gd name="connsiteX11" fmla="*/ 3876045 w 4565429"/>
              <a:gd name="connsiteY11" fmla="*/ 3486897 h 5216943"/>
              <a:gd name="connsiteX12" fmla="*/ 3193992 w 4565429"/>
              <a:gd name="connsiteY12" fmla="*/ 3284529 h 5216943"/>
              <a:gd name="connsiteX13" fmla="*/ 2722889 w 4565429"/>
              <a:gd name="connsiteY13" fmla="*/ 3951808 h 5216943"/>
              <a:gd name="connsiteX14" fmla="*/ 1746141 w 4565429"/>
              <a:gd name="connsiteY14" fmla="*/ 4904901 h 5216943"/>
              <a:gd name="connsiteX15" fmla="*/ 743319 w 4565429"/>
              <a:gd name="connsiteY15" fmla="*/ 5206964 h 5216943"/>
              <a:gd name="connsiteX16" fmla="*/ 1 w 4565429"/>
              <a:gd name="connsiteY16" fmla="*/ 4253350 h 5216943"/>
              <a:gd name="connsiteX17" fmla="*/ 344653 w 4565429"/>
              <a:gd name="connsiteY17" fmla="*/ 3252392 h 5216943"/>
              <a:gd name="connsiteX0" fmla="*/ 344653 w 4565429"/>
              <a:gd name="connsiteY0" fmla="*/ 3252392 h 5216943"/>
              <a:gd name="connsiteX1" fmla="*/ 136000 w 4565429"/>
              <a:gd name="connsiteY1" fmla="*/ 2324291 h 5216943"/>
              <a:gd name="connsiteX2" fmla="*/ 758852 w 4565429"/>
              <a:gd name="connsiteY2" fmla="*/ 1515906 h 5216943"/>
              <a:gd name="connsiteX3" fmla="*/ 638169 w 4565429"/>
              <a:gd name="connsiteY3" fmla="*/ 518843 h 5216943"/>
              <a:gd name="connsiteX4" fmla="*/ 1013032 w 4565429"/>
              <a:gd name="connsiteY4" fmla="*/ 1684 h 5216943"/>
              <a:gd name="connsiteX5" fmla="*/ 1766996 w 4565429"/>
              <a:gd name="connsiteY5" fmla="*/ 709164 h 5216943"/>
              <a:gd name="connsiteX6" fmla="*/ 2464905 w 4565429"/>
              <a:gd name="connsiteY6" fmla="*/ 1281388 h 5216943"/>
              <a:gd name="connsiteX7" fmla="*/ 3407549 w 4565429"/>
              <a:gd name="connsiteY7" fmla="*/ 1671458 h 5216943"/>
              <a:gd name="connsiteX8" fmla="*/ 3733638 w 4565429"/>
              <a:gd name="connsiteY8" fmla="*/ 2190248 h 5216943"/>
              <a:gd name="connsiteX9" fmla="*/ 4036267 w 4565429"/>
              <a:gd name="connsiteY9" fmla="*/ 2757159 h 5216943"/>
              <a:gd name="connsiteX10" fmla="*/ 4562571 w 4565429"/>
              <a:gd name="connsiteY10" fmla="*/ 3464427 h 5216943"/>
              <a:gd name="connsiteX11" fmla="*/ 3876045 w 4565429"/>
              <a:gd name="connsiteY11" fmla="*/ 3486897 h 5216943"/>
              <a:gd name="connsiteX12" fmla="*/ 3193992 w 4565429"/>
              <a:gd name="connsiteY12" fmla="*/ 3284529 h 5216943"/>
              <a:gd name="connsiteX13" fmla="*/ 2722889 w 4565429"/>
              <a:gd name="connsiteY13" fmla="*/ 3951808 h 5216943"/>
              <a:gd name="connsiteX14" fmla="*/ 1746141 w 4565429"/>
              <a:gd name="connsiteY14" fmla="*/ 4904901 h 5216943"/>
              <a:gd name="connsiteX15" fmla="*/ 743319 w 4565429"/>
              <a:gd name="connsiteY15" fmla="*/ 5206964 h 5216943"/>
              <a:gd name="connsiteX16" fmla="*/ 1 w 4565429"/>
              <a:gd name="connsiteY16" fmla="*/ 4253350 h 5216943"/>
              <a:gd name="connsiteX17" fmla="*/ 344653 w 4565429"/>
              <a:gd name="connsiteY17" fmla="*/ 3252392 h 5216943"/>
              <a:gd name="connsiteX0" fmla="*/ 254712 w 4565429"/>
              <a:gd name="connsiteY0" fmla="*/ 3259887 h 5216943"/>
              <a:gd name="connsiteX1" fmla="*/ 136000 w 4565429"/>
              <a:gd name="connsiteY1" fmla="*/ 2324291 h 5216943"/>
              <a:gd name="connsiteX2" fmla="*/ 758852 w 4565429"/>
              <a:gd name="connsiteY2" fmla="*/ 1515906 h 5216943"/>
              <a:gd name="connsiteX3" fmla="*/ 638169 w 4565429"/>
              <a:gd name="connsiteY3" fmla="*/ 518843 h 5216943"/>
              <a:gd name="connsiteX4" fmla="*/ 1013032 w 4565429"/>
              <a:gd name="connsiteY4" fmla="*/ 1684 h 5216943"/>
              <a:gd name="connsiteX5" fmla="*/ 1766996 w 4565429"/>
              <a:gd name="connsiteY5" fmla="*/ 709164 h 5216943"/>
              <a:gd name="connsiteX6" fmla="*/ 2464905 w 4565429"/>
              <a:gd name="connsiteY6" fmla="*/ 1281388 h 5216943"/>
              <a:gd name="connsiteX7" fmla="*/ 3407549 w 4565429"/>
              <a:gd name="connsiteY7" fmla="*/ 1671458 h 5216943"/>
              <a:gd name="connsiteX8" fmla="*/ 3733638 w 4565429"/>
              <a:gd name="connsiteY8" fmla="*/ 2190248 h 5216943"/>
              <a:gd name="connsiteX9" fmla="*/ 4036267 w 4565429"/>
              <a:gd name="connsiteY9" fmla="*/ 2757159 h 5216943"/>
              <a:gd name="connsiteX10" fmla="*/ 4562571 w 4565429"/>
              <a:gd name="connsiteY10" fmla="*/ 3464427 h 5216943"/>
              <a:gd name="connsiteX11" fmla="*/ 3876045 w 4565429"/>
              <a:gd name="connsiteY11" fmla="*/ 3486897 h 5216943"/>
              <a:gd name="connsiteX12" fmla="*/ 3193992 w 4565429"/>
              <a:gd name="connsiteY12" fmla="*/ 3284529 h 5216943"/>
              <a:gd name="connsiteX13" fmla="*/ 2722889 w 4565429"/>
              <a:gd name="connsiteY13" fmla="*/ 3951808 h 5216943"/>
              <a:gd name="connsiteX14" fmla="*/ 1746141 w 4565429"/>
              <a:gd name="connsiteY14" fmla="*/ 4904901 h 5216943"/>
              <a:gd name="connsiteX15" fmla="*/ 743319 w 4565429"/>
              <a:gd name="connsiteY15" fmla="*/ 5206964 h 5216943"/>
              <a:gd name="connsiteX16" fmla="*/ 1 w 4565429"/>
              <a:gd name="connsiteY16" fmla="*/ 4253350 h 5216943"/>
              <a:gd name="connsiteX17" fmla="*/ 254712 w 4565429"/>
              <a:gd name="connsiteY17" fmla="*/ 3259887 h 5216943"/>
              <a:gd name="connsiteX0" fmla="*/ 138664 w 4449381"/>
              <a:gd name="connsiteY0" fmla="*/ 3259887 h 5216943"/>
              <a:gd name="connsiteX1" fmla="*/ 19952 w 4449381"/>
              <a:gd name="connsiteY1" fmla="*/ 2324291 h 5216943"/>
              <a:gd name="connsiteX2" fmla="*/ 642804 w 4449381"/>
              <a:gd name="connsiteY2" fmla="*/ 1515906 h 5216943"/>
              <a:gd name="connsiteX3" fmla="*/ 522121 w 4449381"/>
              <a:gd name="connsiteY3" fmla="*/ 518843 h 5216943"/>
              <a:gd name="connsiteX4" fmla="*/ 896984 w 4449381"/>
              <a:gd name="connsiteY4" fmla="*/ 1684 h 5216943"/>
              <a:gd name="connsiteX5" fmla="*/ 1650948 w 4449381"/>
              <a:gd name="connsiteY5" fmla="*/ 709164 h 5216943"/>
              <a:gd name="connsiteX6" fmla="*/ 2348857 w 4449381"/>
              <a:gd name="connsiteY6" fmla="*/ 1281388 h 5216943"/>
              <a:gd name="connsiteX7" fmla="*/ 3291501 w 4449381"/>
              <a:gd name="connsiteY7" fmla="*/ 1671458 h 5216943"/>
              <a:gd name="connsiteX8" fmla="*/ 3617590 w 4449381"/>
              <a:gd name="connsiteY8" fmla="*/ 2190248 h 5216943"/>
              <a:gd name="connsiteX9" fmla="*/ 3920219 w 4449381"/>
              <a:gd name="connsiteY9" fmla="*/ 2757159 h 5216943"/>
              <a:gd name="connsiteX10" fmla="*/ 4446523 w 4449381"/>
              <a:gd name="connsiteY10" fmla="*/ 3464427 h 5216943"/>
              <a:gd name="connsiteX11" fmla="*/ 3759997 w 4449381"/>
              <a:gd name="connsiteY11" fmla="*/ 3486897 h 5216943"/>
              <a:gd name="connsiteX12" fmla="*/ 3077944 w 4449381"/>
              <a:gd name="connsiteY12" fmla="*/ 3284529 h 5216943"/>
              <a:gd name="connsiteX13" fmla="*/ 2606841 w 4449381"/>
              <a:gd name="connsiteY13" fmla="*/ 3951808 h 5216943"/>
              <a:gd name="connsiteX14" fmla="*/ 1630093 w 4449381"/>
              <a:gd name="connsiteY14" fmla="*/ 4904901 h 5216943"/>
              <a:gd name="connsiteX15" fmla="*/ 627271 w 4449381"/>
              <a:gd name="connsiteY15" fmla="*/ 5206964 h 5216943"/>
              <a:gd name="connsiteX16" fmla="*/ 33854 w 4449381"/>
              <a:gd name="connsiteY16" fmla="*/ 4268340 h 5216943"/>
              <a:gd name="connsiteX17" fmla="*/ 138664 w 4449381"/>
              <a:gd name="connsiteY17" fmla="*/ 3259887 h 5216943"/>
              <a:gd name="connsiteX0" fmla="*/ 269701 w 4580418"/>
              <a:gd name="connsiteY0" fmla="*/ 3259887 h 5216943"/>
              <a:gd name="connsiteX1" fmla="*/ 150989 w 4580418"/>
              <a:gd name="connsiteY1" fmla="*/ 2324291 h 5216943"/>
              <a:gd name="connsiteX2" fmla="*/ 773841 w 4580418"/>
              <a:gd name="connsiteY2" fmla="*/ 1515906 h 5216943"/>
              <a:gd name="connsiteX3" fmla="*/ 653158 w 4580418"/>
              <a:gd name="connsiteY3" fmla="*/ 518843 h 5216943"/>
              <a:gd name="connsiteX4" fmla="*/ 1028021 w 4580418"/>
              <a:gd name="connsiteY4" fmla="*/ 1684 h 5216943"/>
              <a:gd name="connsiteX5" fmla="*/ 1781985 w 4580418"/>
              <a:gd name="connsiteY5" fmla="*/ 709164 h 5216943"/>
              <a:gd name="connsiteX6" fmla="*/ 2479894 w 4580418"/>
              <a:gd name="connsiteY6" fmla="*/ 1281388 h 5216943"/>
              <a:gd name="connsiteX7" fmla="*/ 3422538 w 4580418"/>
              <a:gd name="connsiteY7" fmla="*/ 1671458 h 5216943"/>
              <a:gd name="connsiteX8" fmla="*/ 3748627 w 4580418"/>
              <a:gd name="connsiteY8" fmla="*/ 2190248 h 5216943"/>
              <a:gd name="connsiteX9" fmla="*/ 4051256 w 4580418"/>
              <a:gd name="connsiteY9" fmla="*/ 2757159 h 5216943"/>
              <a:gd name="connsiteX10" fmla="*/ 4577560 w 4580418"/>
              <a:gd name="connsiteY10" fmla="*/ 3464427 h 5216943"/>
              <a:gd name="connsiteX11" fmla="*/ 3891034 w 4580418"/>
              <a:gd name="connsiteY11" fmla="*/ 3486897 h 5216943"/>
              <a:gd name="connsiteX12" fmla="*/ 3208981 w 4580418"/>
              <a:gd name="connsiteY12" fmla="*/ 3284529 h 5216943"/>
              <a:gd name="connsiteX13" fmla="*/ 2737878 w 4580418"/>
              <a:gd name="connsiteY13" fmla="*/ 3951808 h 5216943"/>
              <a:gd name="connsiteX14" fmla="*/ 1761130 w 4580418"/>
              <a:gd name="connsiteY14" fmla="*/ 4904901 h 5216943"/>
              <a:gd name="connsiteX15" fmla="*/ 758308 w 4580418"/>
              <a:gd name="connsiteY15" fmla="*/ 5206964 h 5216943"/>
              <a:gd name="connsiteX16" fmla="*/ 0 w 4580418"/>
              <a:gd name="connsiteY16" fmla="*/ 4313311 h 5216943"/>
              <a:gd name="connsiteX17" fmla="*/ 269701 w 4580418"/>
              <a:gd name="connsiteY17" fmla="*/ 3259887 h 5216943"/>
              <a:gd name="connsiteX0" fmla="*/ 269701 w 4580418"/>
              <a:gd name="connsiteY0" fmla="*/ 3259887 h 4992036"/>
              <a:gd name="connsiteX1" fmla="*/ 150989 w 4580418"/>
              <a:gd name="connsiteY1" fmla="*/ 2324291 h 4992036"/>
              <a:gd name="connsiteX2" fmla="*/ 773841 w 4580418"/>
              <a:gd name="connsiteY2" fmla="*/ 1515906 h 4992036"/>
              <a:gd name="connsiteX3" fmla="*/ 653158 w 4580418"/>
              <a:gd name="connsiteY3" fmla="*/ 518843 h 4992036"/>
              <a:gd name="connsiteX4" fmla="*/ 1028021 w 4580418"/>
              <a:gd name="connsiteY4" fmla="*/ 1684 h 4992036"/>
              <a:gd name="connsiteX5" fmla="*/ 1781985 w 4580418"/>
              <a:gd name="connsiteY5" fmla="*/ 709164 h 4992036"/>
              <a:gd name="connsiteX6" fmla="*/ 2479894 w 4580418"/>
              <a:gd name="connsiteY6" fmla="*/ 1281388 h 4992036"/>
              <a:gd name="connsiteX7" fmla="*/ 3422538 w 4580418"/>
              <a:gd name="connsiteY7" fmla="*/ 1671458 h 4992036"/>
              <a:gd name="connsiteX8" fmla="*/ 3748627 w 4580418"/>
              <a:gd name="connsiteY8" fmla="*/ 2190248 h 4992036"/>
              <a:gd name="connsiteX9" fmla="*/ 4051256 w 4580418"/>
              <a:gd name="connsiteY9" fmla="*/ 2757159 h 4992036"/>
              <a:gd name="connsiteX10" fmla="*/ 4577560 w 4580418"/>
              <a:gd name="connsiteY10" fmla="*/ 3464427 h 4992036"/>
              <a:gd name="connsiteX11" fmla="*/ 3891034 w 4580418"/>
              <a:gd name="connsiteY11" fmla="*/ 3486897 h 4992036"/>
              <a:gd name="connsiteX12" fmla="*/ 3208981 w 4580418"/>
              <a:gd name="connsiteY12" fmla="*/ 3284529 h 4992036"/>
              <a:gd name="connsiteX13" fmla="*/ 2737878 w 4580418"/>
              <a:gd name="connsiteY13" fmla="*/ 3951808 h 4992036"/>
              <a:gd name="connsiteX14" fmla="*/ 1761130 w 4580418"/>
              <a:gd name="connsiteY14" fmla="*/ 4904901 h 4992036"/>
              <a:gd name="connsiteX15" fmla="*/ 758308 w 4580418"/>
              <a:gd name="connsiteY15" fmla="*/ 4914656 h 4992036"/>
              <a:gd name="connsiteX16" fmla="*/ 0 w 4580418"/>
              <a:gd name="connsiteY16" fmla="*/ 4313311 h 4992036"/>
              <a:gd name="connsiteX17" fmla="*/ 269701 w 4580418"/>
              <a:gd name="connsiteY17" fmla="*/ 3259887 h 4992036"/>
              <a:gd name="connsiteX0" fmla="*/ 269701 w 4580418"/>
              <a:gd name="connsiteY0" fmla="*/ 3259887 h 5216943"/>
              <a:gd name="connsiteX1" fmla="*/ 150989 w 4580418"/>
              <a:gd name="connsiteY1" fmla="*/ 2324291 h 5216943"/>
              <a:gd name="connsiteX2" fmla="*/ 773841 w 4580418"/>
              <a:gd name="connsiteY2" fmla="*/ 1515906 h 5216943"/>
              <a:gd name="connsiteX3" fmla="*/ 653158 w 4580418"/>
              <a:gd name="connsiteY3" fmla="*/ 518843 h 5216943"/>
              <a:gd name="connsiteX4" fmla="*/ 1028021 w 4580418"/>
              <a:gd name="connsiteY4" fmla="*/ 1684 h 5216943"/>
              <a:gd name="connsiteX5" fmla="*/ 1781985 w 4580418"/>
              <a:gd name="connsiteY5" fmla="*/ 709164 h 5216943"/>
              <a:gd name="connsiteX6" fmla="*/ 2479894 w 4580418"/>
              <a:gd name="connsiteY6" fmla="*/ 1281388 h 5216943"/>
              <a:gd name="connsiteX7" fmla="*/ 3422538 w 4580418"/>
              <a:gd name="connsiteY7" fmla="*/ 1671458 h 5216943"/>
              <a:gd name="connsiteX8" fmla="*/ 3748627 w 4580418"/>
              <a:gd name="connsiteY8" fmla="*/ 2190248 h 5216943"/>
              <a:gd name="connsiteX9" fmla="*/ 4051256 w 4580418"/>
              <a:gd name="connsiteY9" fmla="*/ 2757159 h 5216943"/>
              <a:gd name="connsiteX10" fmla="*/ 4577560 w 4580418"/>
              <a:gd name="connsiteY10" fmla="*/ 3464427 h 5216943"/>
              <a:gd name="connsiteX11" fmla="*/ 3891034 w 4580418"/>
              <a:gd name="connsiteY11" fmla="*/ 3486897 h 5216943"/>
              <a:gd name="connsiteX12" fmla="*/ 3208981 w 4580418"/>
              <a:gd name="connsiteY12" fmla="*/ 3284529 h 5216943"/>
              <a:gd name="connsiteX13" fmla="*/ 2737878 w 4580418"/>
              <a:gd name="connsiteY13" fmla="*/ 3951808 h 5216943"/>
              <a:gd name="connsiteX14" fmla="*/ 1761130 w 4580418"/>
              <a:gd name="connsiteY14" fmla="*/ 4904901 h 5216943"/>
              <a:gd name="connsiteX15" fmla="*/ 773298 w 4580418"/>
              <a:gd name="connsiteY15" fmla="*/ 5206964 h 5216943"/>
              <a:gd name="connsiteX16" fmla="*/ 0 w 4580418"/>
              <a:gd name="connsiteY16" fmla="*/ 4313311 h 5216943"/>
              <a:gd name="connsiteX17" fmla="*/ 269701 w 4580418"/>
              <a:gd name="connsiteY17" fmla="*/ 3259887 h 5216943"/>
              <a:gd name="connsiteX0" fmla="*/ 269701 w 4580418"/>
              <a:gd name="connsiteY0" fmla="*/ 3259887 h 5211738"/>
              <a:gd name="connsiteX1" fmla="*/ 150989 w 4580418"/>
              <a:gd name="connsiteY1" fmla="*/ 2324291 h 5211738"/>
              <a:gd name="connsiteX2" fmla="*/ 773841 w 4580418"/>
              <a:gd name="connsiteY2" fmla="*/ 1515906 h 5211738"/>
              <a:gd name="connsiteX3" fmla="*/ 653158 w 4580418"/>
              <a:gd name="connsiteY3" fmla="*/ 518843 h 5211738"/>
              <a:gd name="connsiteX4" fmla="*/ 1028021 w 4580418"/>
              <a:gd name="connsiteY4" fmla="*/ 1684 h 5211738"/>
              <a:gd name="connsiteX5" fmla="*/ 1781985 w 4580418"/>
              <a:gd name="connsiteY5" fmla="*/ 709164 h 5211738"/>
              <a:gd name="connsiteX6" fmla="*/ 2479894 w 4580418"/>
              <a:gd name="connsiteY6" fmla="*/ 1281388 h 5211738"/>
              <a:gd name="connsiteX7" fmla="*/ 3422538 w 4580418"/>
              <a:gd name="connsiteY7" fmla="*/ 1671458 h 5211738"/>
              <a:gd name="connsiteX8" fmla="*/ 3748627 w 4580418"/>
              <a:gd name="connsiteY8" fmla="*/ 2190248 h 5211738"/>
              <a:gd name="connsiteX9" fmla="*/ 4051256 w 4580418"/>
              <a:gd name="connsiteY9" fmla="*/ 2757159 h 5211738"/>
              <a:gd name="connsiteX10" fmla="*/ 4577560 w 4580418"/>
              <a:gd name="connsiteY10" fmla="*/ 3464427 h 5211738"/>
              <a:gd name="connsiteX11" fmla="*/ 3891034 w 4580418"/>
              <a:gd name="connsiteY11" fmla="*/ 3486897 h 5211738"/>
              <a:gd name="connsiteX12" fmla="*/ 3208981 w 4580418"/>
              <a:gd name="connsiteY12" fmla="*/ 3284529 h 5211738"/>
              <a:gd name="connsiteX13" fmla="*/ 2737878 w 4580418"/>
              <a:gd name="connsiteY13" fmla="*/ 3951808 h 5211738"/>
              <a:gd name="connsiteX14" fmla="*/ 1596238 w 4580418"/>
              <a:gd name="connsiteY14" fmla="*/ 4695039 h 5211738"/>
              <a:gd name="connsiteX15" fmla="*/ 773298 w 4580418"/>
              <a:gd name="connsiteY15" fmla="*/ 5206964 h 5211738"/>
              <a:gd name="connsiteX16" fmla="*/ 0 w 4580418"/>
              <a:gd name="connsiteY16" fmla="*/ 4313311 h 5211738"/>
              <a:gd name="connsiteX17" fmla="*/ 269701 w 4580418"/>
              <a:gd name="connsiteY17" fmla="*/ 3259887 h 5211738"/>
              <a:gd name="connsiteX0" fmla="*/ 269701 w 4580418"/>
              <a:gd name="connsiteY0" fmla="*/ 3259887 h 5219212"/>
              <a:gd name="connsiteX1" fmla="*/ 150989 w 4580418"/>
              <a:gd name="connsiteY1" fmla="*/ 2324291 h 5219212"/>
              <a:gd name="connsiteX2" fmla="*/ 773841 w 4580418"/>
              <a:gd name="connsiteY2" fmla="*/ 1515906 h 5219212"/>
              <a:gd name="connsiteX3" fmla="*/ 653158 w 4580418"/>
              <a:gd name="connsiteY3" fmla="*/ 518843 h 5219212"/>
              <a:gd name="connsiteX4" fmla="*/ 1028021 w 4580418"/>
              <a:gd name="connsiteY4" fmla="*/ 1684 h 5219212"/>
              <a:gd name="connsiteX5" fmla="*/ 1781985 w 4580418"/>
              <a:gd name="connsiteY5" fmla="*/ 709164 h 5219212"/>
              <a:gd name="connsiteX6" fmla="*/ 2479894 w 4580418"/>
              <a:gd name="connsiteY6" fmla="*/ 1281388 h 5219212"/>
              <a:gd name="connsiteX7" fmla="*/ 3422538 w 4580418"/>
              <a:gd name="connsiteY7" fmla="*/ 1671458 h 5219212"/>
              <a:gd name="connsiteX8" fmla="*/ 3748627 w 4580418"/>
              <a:gd name="connsiteY8" fmla="*/ 2190248 h 5219212"/>
              <a:gd name="connsiteX9" fmla="*/ 4051256 w 4580418"/>
              <a:gd name="connsiteY9" fmla="*/ 2757159 h 5219212"/>
              <a:gd name="connsiteX10" fmla="*/ 4577560 w 4580418"/>
              <a:gd name="connsiteY10" fmla="*/ 3464427 h 5219212"/>
              <a:gd name="connsiteX11" fmla="*/ 3891034 w 4580418"/>
              <a:gd name="connsiteY11" fmla="*/ 3486897 h 5219212"/>
              <a:gd name="connsiteX12" fmla="*/ 3208981 w 4580418"/>
              <a:gd name="connsiteY12" fmla="*/ 3284529 h 5219212"/>
              <a:gd name="connsiteX13" fmla="*/ 2737878 w 4580418"/>
              <a:gd name="connsiteY13" fmla="*/ 3951808 h 5219212"/>
              <a:gd name="connsiteX14" fmla="*/ 1723654 w 4580418"/>
              <a:gd name="connsiteY14" fmla="*/ 4942377 h 5219212"/>
              <a:gd name="connsiteX15" fmla="*/ 773298 w 4580418"/>
              <a:gd name="connsiteY15" fmla="*/ 5206964 h 5219212"/>
              <a:gd name="connsiteX16" fmla="*/ 0 w 4580418"/>
              <a:gd name="connsiteY16" fmla="*/ 4313311 h 5219212"/>
              <a:gd name="connsiteX17" fmla="*/ 269701 w 4580418"/>
              <a:gd name="connsiteY17" fmla="*/ 3259887 h 5219212"/>
              <a:gd name="connsiteX0" fmla="*/ 269701 w 4580418"/>
              <a:gd name="connsiteY0" fmla="*/ 3259887 h 5220714"/>
              <a:gd name="connsiteX1" fmla="*/ 150989 w 4580418"/>
              <a:gd name="connsiteY1" fmla="*/ 2324291 h 5220714"/>
              <a:gd name="connsiteX2" fmla="*/ 773841 w 4580418"/>
              <a:gd name="connsiteY2" fmla="*/ 1515906 h 5220714"/>
              <a:gd name="connsiteX3" fmla="*/ 653158 w 4580418"/>
              <a:gd name="connsiteY3" fmla="*/ 518843 h 5220714"/>
              <a:gd name="connsiteX4" fmla="*/ 1028021 w 4580418"/>
              <a:gd name="connsiteY4" fmla="*/ 1684 h 5220714"/>
              <a:gd name="connsiteX5" fmla="*/ 1781985 w 4580418"/>
              <a:gd name="connsiteY5" fmla="*/ 709164 h 5220714"/>
              <a:gd name="connsiteX6" fmla="*/ 2479894 w 4580418"/>
              <a:gd name="connsiteY6" fmla="*/ 1281388 h 5220714"/>
              <a:gd name="connsiteX7" fmla="*/ 3422538 w 4580418"/>
              <a:gd name="connsiteY7" fmla="*/ 1671458 h 5220714"/>
              <a:gd name="connsiteX8" fmla="*/ 3748627 w 4580418"/>
              <a:gd name="connsiteY8" fmla="*/ 2190248 h 5220714"/>
              <a:gd name="connsiteX9" fmla="*/ 4051256 w 4580418"/>
              <a:gd name="connsiteY9" fmla="*/ 2757159 h 5220714"/>
              <a:gd name="connsiteX10" fmla="*/ 4577560 w 4580418"/>
              <a:gd name="connsiteY10" fmla="*/ 3464427 h 5220714"/>
              <a:gd name="connsiteX11" fmla="*/ 3891034 w 4580418"/>
              <a:gd name="connsiteY11" fmla="*/ 3486897 h 5220714"/>
              <a:gd name="connsiteX12" fmla="*/ 3208981 w 4580418"/>
              <a:gd name="connsiteY12" fmla="*/ 3284529 h 5220714"/>
              <a:gd name="connsiteX13" fmla="*/ 2475550 w 4580418"/>
              <a:gd name="connsiteY13" fmla="*/ 3831887 h 5220714"/>
              <a:gd name="connsiteX14" fmla="*/ 1723654 w 4580418"/>
              <a:gd name="connsiteY14" fmla="*/ 4942377 h 5220714"/>
              <a:gd name="connsiteX15" fmla="*/ 773298 w 4580418"/>
              <a:gd name="connsiteY15" fmla="*/ 5206964 h 5220714"/>
              <a:gd name="connsiteX16" fmla="*/ 0 w 4580418"/>
              <a:gd name="connsiteY16" fmla="*/ 4313311 h 5220714"/>
              <a:gd name="connsiteX17" fmla="*/ 269701 w 4580418"/>
              <a:gd name="connsiteY17" fmla="*/ 3259887 h 5220714"/>
              <a:gd name="connsiteX0" fmla="*/ 269701 w 4580418"/>
              <a:gd name="connsiteY0" fmla="*/ 3259887 h 5218405"/>
              <a:gd name="connsiteX1" fmla="*/ 150989 w 4580418"/>
              <a:gd name="connsiteY1" fmla="*/ 2324291 h 5218405"/>
              <a:gd name="connsiteX2" fmla="*/ 773841 w 4580418"/>
              <a:gd name="connsiteY2" fmla="*/ 1515906 h 5218405"/>
              <a:gd name="connsiteX3" fmla="*/ 653158 w 4580418"/>
              <a:gd name="connsiteY3" fmla="*/ 518843 h 5218405"/>
              <a:gd name="connsiteX4" fmla="*/ 1028021 w 4580418"/>
              <a:gd name="connsiteY4" fmla="*/ 1684 h 5218405"/>
              <a:gd name="connsiteX5" fmla="*/ 1781985 w 4580418"/>
              <a:gd name="connsiteY5" fmla="*/ 709164 h 5218405"/>
              <a:gd name="connsiteX6" fmla="*/ 2479894 w 4580418"/>
              <a:gd name="connsiteY6" fmla="*/ 1281388 h 5218405"/>
              <a:gd name="connsiteX7" fmla="*/ 3422538 w 4580418"/>
              <a:gd name="connsiteY7" fmla="*/ 1671458 h 5218405"/>
              <a:gd name="connsiteX8" fmla="*/ 3748627 w 4580418"/>
              <a:gd name="connsiteY8" fmla="*/ 2190248 h 5218405"/>
              <a:gd name="connsiteX9" fmla="*/ 4051256 w 4580418"/>
              <a:gd name="connsiteY9" fmla="*/ 2757159 h 5218405"/>
              <a:gd name="connsiteX10" fmla="*/ 4577560 w 4580418"/>
              <a:gd name="connsiteY10" fmla="*/ 3464427 h 5218405"/>
              <a:gd name="connsiteX11" fmla="*/ 3891034 w 4580418"/>
              <a:gd name="connsiteY11" fmla="*/ 3486897 h 5218405"/>
              <a:gd name="connsiteX12" fmla="*/ 3208981 w 4580418"/>
              <a:gd name="connsiteY12" fmla="*/ 3284529 h 5218405"/>
              <a:gd name="connsiteX13" fmla="*/ 2685413 w 4580418"/>
              <a:gd name="connsiteY13" fmla="*/ 4026759 h 5218405"/>
              <a:gd name="connsiteX14" fmla="*/ 1723654 w 4580418"/>
              <a:gd name="connsiteY14" fmla="*/ 4942377 h 5218405"/>
              <a:gd name="connsiteX15" fmla="*/ 773298 w 4580418"/>
              <a:gd name="connsiteY15" fmla="*/ 5206964 h 5218405"/>
              <a:gd name="connsiteX16" fmla="*/ 0 w 4580418"/>
              <a:gd name="connsiteY16" fmla="*/ 4313311 h 5218405"/>
              <a:gd name="connsiteX17" fmla="*/ 269701 w 4580418"/>
              <a:gd name="connsiteY17" fmla="*/ 3259887 h 5218405"/>
              <a:gd name="connsiteX0" fmla="*/ 269701 w 4580418"/>
              <a:gd name="connsiteY0" fmla="*/ 3259887 h 5218405"/>
              <a:gd name="connsiteX1" fmla="*/ 150989 w 4580418"/>
              <a:gd name="connsiteY1" fmla="*/ 2324291 h 5218405"/>
              <a:gd name="connsiteX2" fmla="*/ 773841 w 4580418"/>
              <a:gd name="connsiteY2" fmla="*/ 1515906 h 5218405"/>
              <a:gd name="connsiteX3" fmla="*/ 653158 w 4580418"/>
              <a:gd name="connsiteY3" fmla="*/ 518843 h 5218405"/>
              <a:gd name="connsiteX4" fmla="*/ 1028021 w 4580418"/>
              <a:gd name="connsiteY4" fmla="*/ 1684 h 5218405"/>
              <a:gd name="connsiteX5" fmla="*/ 1781985 w 4580418"/>
              <a:gd name="connsiteY5" fmla="*/ 709164 h 5218405"/>
              <a:gd name="connsiteX6" fmla="*/ 2479894 w 4580418"/>
              <a:gd name="connsiteY6" fmla="*/ 1281388 h 5218405"/>
              <a:gd name="connsiteX7" fmla="*/ 3422538 w 4580418"/>
              <a:gd name="connsiteY7" fmla="*/ 1671458 h 5218405"/>
              <a:gd name="connsiteX8" fmla="*/ 3748627 w 4580418"/>
              <a:gd name="connsiteY8" fmla="*/ 2190248 h 5218405"/>
              <a:gd name="connsiteX9" fmla="*/ 4051256 w 4580418"/>
              <a:gd name="connsiteY9" fmla="*/ 2757159 h 5218405"/>
              <a:gd name="connsiteX10" fmla="*/ 4577560 w 4580418"/>
              <a:gd name="connsiteY10" fmla="*/ 3464427 h 5218405"/>
              <a:gd name="connsiteX11" fmla="*/ 3891034 w 4580418"/>
              <a:gd name="connsiteY11" fmla="*/ 3486897 h 5218405"/>
              <a:gd name="connsiteX12" fmla="*/ 3044090 w 4580418"/>
              <a:gd name="connsiteY12" fmla="*/ 3067171 h 5218405"/>
              <a:gd name="connsiteX13" fmla="*/ 2685413 w 4580418"/>
              <a:gd name="connsiteY13" fmla="*/ 4026759 h 5218405"/>
              <a:gd name="connsiteX14" fmla="*/ 1723654 w 4580418"/>
              <a:gd name="connsiteY14" fmla="*/ 4942377 h 5218405"/>
              <a:gd name="connsiteX15" fmla="*/ 773298 w 4580418"/>
              <a:gd name="connsiteY15" fmla="*/ 5206964 h 5218405"/>
              <a:gd name="connsiteX16" fmla="*/ 0 w 4580418"/>
              <a:gd name="connsiteY16" fmla="*/ 4313311 h 5218405"/>
              <a:gd name="connsiteX17" fmla="*/ 269701 w 4580418"/>
              <a:gd name="connsiteY17" fmla="*/ 3259887 h 5218405"/>
              <a:gd name="connsiteX0" fmla="*/ 269701 w 4580418"/>
              <a:gd name="connsiteY0" fmla="*/ 3259887 h 5218405"/>
              <a:gd name="connsiteX1" fmla="*/ 150989 w 4580418"/>
              <a:gd name="connsiteY1" fmla="*/ 2324291 h 5218405"/>
              <a:gd name="connsiteX2" fmla="*/ 773841 w 4580418"/>
              <a:gd name="connsiteY2" fmla="*/ 1515906 h 5218405"/>
              <a:gd name="connsiteX3" fmla="*/ 653158 w 4580418"/>
              <a:gd name="connsiteY3" fmla="*/ 518843 h 5218405"/>
              <a:gd name="connsiteX4" fmla="*/ 1028021 w 4580418"/>
              <a:gd name="connsiteY4" fmla="*/ 1684 h 5218405"/>
              <a:gd name="connsiteX5" fmla="*/ 1781985 w 4580418"/>
              <a:gd name="connsiteY5" fmla="*/ 709164 h 5218405"/>
              <a:gd name="connsiteX6" fmla="*/ 2479894 w 4580418"/>
              <a:gd name="connsiteY6" fmla="*/ 1281388 h 5218405"/>
              <a:gd name="connsiteX7" fmla="*/ 3422538 w 4580418"/>
              <a:gd name="connsiteY7" fmla="*/ 1671458 h 5218405"/>
              <a:gd name="connsiteX8" fmla="*/ 3748627 w 4580418"/>
              <a:gd name="connsiteY8" fmla="*/ 2190248 h 5218405"/>
              <a:gd name="connsiteX9" fmla="*/ 4051256 w 4580418"/>
              <a:gd name="connsiteY9" fmla="*/ 2757159 h 5218405"/>
              <a:gd name="connsiteX10" fmla="*/ 4577560 w 4580418"/>
              <a:gd name="connsiteY10" fmla="*/ 3464427 h 5218405"/>
              <a:gd name="connsiteX11" fmla="*/ 3891034 w 4580418"/>
              <a:gd name="connsiteY11" fmla="*/ 3486897 h 5218405"/>
              <a:gd name="connsiteX12" fmla="*/ 3201487 w 4580418"/>
              <a:gd name="connsiteY12" fmla="*/ 3284528 h 5218405"/>
              <a:gd name="connsiteX13" fmla="*/ 2685413 w 4580418"/>
              <a:gd name="connsiteY13" fmla="*/ 4026759 h 5218405"/>
              <a:gd name="connsiteX14" fmla="*/ 1723654 w 4580418"/>
              <a:gd name="connsiteY14" fmla="*/ 4942377 h 5218405"/>
              <a:gd name="connsiteX15" fmla="*/ 773298 w 4580418"/>
              <a:gd name="connsiteY15" fmla="*/ 5206964 h 5218405"/>
              <a:gd name="connsiteX16" fmla="*/ 0 w 4580418"/>
              <a:gd name="connsiteY16" fmla="*/ 4313311 h 5218405"/>
              <a:gd name="connsiteX17" fmla="*/ 269701 w 4580418"/>
              <a:gd name="connsiteY17" fmla="*/ 3259887 h 5218405"/>
              <a:gd name="connsiteX0" fmla="*/ 269701 w 4580418"/>
              <a:gd name="connsiteY0" fmla="*/ 3259887 h 5218405"/>
              <a:gd name="connsiteX1" fmla="*/ 150989 w 4580418"/>
              <a:gd name="connsiteY1" fmla="*/ 2324291 h 5218405"/>
              <a:gd name="connsiteX2" fmla="*/ 773841 w 4580418"/>
              <a:gd name="connsiteY2" fmla="*/ 1515906 h 5218405"/>
              <a:gd name="connsiteX3" fmla="*/ 653158 w 4580418"/>
              <a:gd name="connsiteY3" fmla="*/ 518843 h 5218405"/>
              <a:gd name="connsiteX4" fmla="*/ 1028021 w 4580418"/>
              <a:gd name="connsiteY4" fmla="*/ 1684 h 5218405"/>
              <a:gd name="connsiteX5" fmla="*/ 1781985 w 4580418"/>
              <a:gd name="connsiteY5" fmla="*/ 709164 h 5218405"/>
              <a:gd name="connsiteX6" fmla="*/ 2479894 w 4580418"/>
              <a:gd name="connsiteY6" fmla="*/ 1281388 h 5218405"/>
              <a:gd name="connsiteX7" fmla="*/ 3422538 w 4580418"/>
              <a:gd name="connsiteY7" fmla="*/ 1671458 h 5218405"/>
              <a:gd name="connsiteX8" fmla="*/ 3748627 w 4580418"/>
              <a:gd name="connsiteY8" fmla="*/ 2190248 h 5218405"/>
              <a:gd name="connsiteX9" fmla="*/ 4051256 w 4580418"/>
              <a:gd name="connsiteY9" fmla="*/ 2757159 h 5218405"/>
              <a:gd name="connsiteX10" fmla="*/ 4577560 w 4580418"/>
              <a:gd name="connsiteY10" fmla="*/ 3464427 h 5218405"/>
              <a:gd name="connsiteX11" fmla="*/ 3876044 w 4580418"/>
              <a:gd name="connsiteY11" fmla="*/ 3292025 h 5218405"/>
              <a:gd name="connsiteX12" fmla="*/ 3201487 w 4580418"/>
              <a:gd name="connsiteY12" fmla="*/ 3284528 h 5218405"/>
              <a:gd name="connsiteX13" fmla="*/ 2685413 w 4580418"/>
              <a:gd name="connsiteY13" fmla="*/ 4026759 h 5218405"/>
              <a:gd name="connsiteX14" fmla="*/ 1723654 w 4580418"/>
              <a:gd name="connsiteY14" fmla="*/ 4942377 h 5218405"/>
              <a:gd name="connsiteX15" fmla="*/ 773298 w 4580418"/>
              <a:gd name="connsiteY15" fmla="*/ 5206964 h 5218405"/>
              <a:gd name="connsiteX16" fmla="*/ 0 w 4580418"/>
              <a:gd name="connsiteY16" fmla="*/ 4313311 h 5218405"/>
              <a:gd name="connsiteX17" fmla="*/ 269701 w 4580418"/>
              <a:gd name="connsiteY17" fmla="*/ 3259887 h 5218405"/>
              <a:gd name="connsiteX0" fmla="*/ 269701 w 4580418"/>
              <a:gd name="connsiteY0" fmla="*/ 3259887 h 5218405"/>
              <a:gd name="connsiteX1" fmla="*/ 150989 w 4580418"/>
              <a:gd name="connsiteY1" fmla="*/ 2324291 h 5218405"/>
              <a:gd name="connsiteX2" fmla="*/ 773841 w 4580418"/>
              <a:gd name="connsiteY2" fmla="*/ 1515906 h 5218405"/>
              <a:gd name="connsiteX3" fmla="*/ 653158 w 4580418"/>
              <a:gd name="connsiteY3" fmla="*/ 518843 h 5218405"/>
              <a:gd name="connsiteX4" fmla="*/ 1028021 w 4580418"/>
              <a:gd name="connsiteY4" fmla="*/ 1684 h 5218405"/>
              <a:gd name="connsiteX5" fmla="*/ 1781985 w 4580418"/>
              <a:gd name="connsiteY5" fmla="*/ 709164 h 5218405"/>
              <a:gd name="connsiteX6" fmla="*/ 2479894 w 4580418"/>
              <a:gd name="connsiteY6" fmla="*/ 1281388 h 5218405"/>
              <a:gd name="connsiteX7" fmla="*/ 3422538 w 4580418"/>
              <a:gd name="connsiteY7" fmla="*/ 1671458 h 5218405"/>
              <a:gd name="connsiteX8" fmla="*/ 3748627 w 4580418"/>
              <a:gd name="connsiteY8" fmla="*/ 2190248 h 5218405"/>
              <a:gd name="connsiteX9" fmla="*/ 4051256 w 4580418"/>
              <a:gd name="connsiteY9" fmla="*/ 2757159 h 5218405"/>
              <a:gd name="connsiteX10" fmla="*/ 4577560 w 4580418"/>
              <a:gd name="connsiteY10" fmla="*/ 3464427 h 5218405"/>
              <a:gd name="connsiteX11" fmla="*/ 3838568 w 4580418"/>
              <a:gd name="connsiteY11" fmla="*/ 3479402 h 5218405"/>
              <a:gd name="connsiteX12" fmla="*/ 3201487 w 4580418"/>
              <a:gd name="connsiteY12" fmla="*/ 3284528 h 5218405"/>
              <a:gd name="connsiteX13" fmla="*/ 2685413 w 4580418"/>
              <a:gd name="connsiteY13" fmla="*/ 4026759 h 5218405"/>
              <a:gd name="connsiteX14" fmla="*/ 1723654 w 4580418"/>
              <a:gd name="connsiteY14" fmla="*/ 4942377 h 5218405"/>
              <a:gd name="connsiteX15" fmla="*/ 773298 w 4580418"/>
              <a:gd name="connsiteY15" fmla="*/ 5206964 h 5218405"/>
              <a:gd name="connsiteX16" fmla="*/ 0 w 4580418"/>
              <a:gd name="connsiteY16" fmla="*/ 4313311 h 5218405"/>
              <a:gd name="connsiteX17" fmla="*/ 269701 w 4580418"/>
              <a:gd name="connsiteY17" fmla="*/ 3259887 h 5218405"/>
              <a:gd name="connsiteX0" fmla="*/ 269701 w 4410428"/>
              <a:gd name="connsiteY0" fmla="*/ 3259887 h 5218405"/>
              <a:gd name="connsiteX1" fmla="*/ 150989 w 4410428"/>
              <a:gd name="connsiteY1" fmla="*/ 2324291 h 5218405"/>
              <a:gd name="connsiteX2" fmla="*/ 773841 w 4410428"/>
              <a:gd name="connsiteY2" fmla="*/ 1515906 h 5218405"/>
              <a:gd name="connsiteX3" fmla="*/ 653158 w 4410428"/>
              <a:gd name="connsiteY3" fmla="*/ 518843 h 5218405"/>
              <a:gd name="connsiteX4" fmla="*/ 1028021 w 4410428"/>
              <a:gd name="connsiteY4" fmla="*/ 1684 h 5218405"/>
              <a:gd name="connsiteX5" fmla="*/ 1781985 w 4410428"/>
              <a:gd name="connsiteY5" fmla="*/ 709164 h 5218405"/>
              <a:gd name="connsiteX6" fmla="*/ 2479894 w 4410428"/>
              <a:gd name="connsiteY6" fmla="*/ 1281388 h 5218405"/>
              <a:gd name="connsiteX7" fmla="*/ 3422538 w 4410428"/>
              <a:gd name="connsiteY7" fmla="*/ 1671458 h 5218405"/>
              <a:gd name="connsiteX8" fmla="*/ 3748627 w 4410428"/>
              <a:gd name="connsiteY8" fmla="*/ 2190248 h 5218405"/>
              <a:gd name="connsiteX9" fmla="*/ 4051256 w 4410428"/>
              <a:gd name="connsiteY9" fmla="*/ 2757159 h 5218405"/>
              <a:gd name="connsiteX10" fmla="*/ 4405173 w 4410428"/>
              <a:gd name="connsiteY10" fmla="*/ 3352000 h 5218405"/>
              <a:gd name="connsiteX11" fmla="*/ 3838568 w 4410428"/>
              <a:gd name="connsiteY11" fmla="*/ 3479402 h 5218405"/>
              <a:gd name="connsiteX12" fmla="*/ 3201487 w 4410428"/>
              <a:gd name="connsiteY12" fmla="*/ 3284528 h 5218405"/>
              <a:gd name="connsiteX13" fmla="*/ 2685413 w 4410428"/>
              <a:gd name="connsiteY13" fmla="*/ 4026759 h 5218405"/>
              <a:gd name="connsiteX14" fmla="*/ 1723654 w 4410428"/>
              <a:gd name="connsiteY14" fmla="*/ 4942377 h 5218405"/>
              <a:gd name="connsiteX15" fmla="*/ 773298 w 4410428"/>
              <a:gd name="connsiteY15" fmla="*/ 5206964 h 5218405"/>
              <a:gd name="connsiteX16" fmla="*/ 0 w 4410428"/>
              <a:gd name="connsiteY16" fmla="*/ 4313311 h 5218405"/>
              <a:gd name="connsiteX17" fmla="*/ 269701 w 4410428"/>
              <a:gd name="connsiteY17" fmla="*/ 3259887 h 5218405"/>
              <a:gd name="connsiteX0" fmla="*/ 269701 w 4595298"/>
              <a:gd name="connsiteY0" fmla="*/ 3259887 h 5218405"/>
              <a:gd name="connsiteX1" fmla="*/ 150989 w 4595298"/>
              <a:gd name="connsiteY1" fmla="*/ 2324291 h 5218405"/>
              <a:gd name="connsiteX2" fmla="*/ 773841 w 4595298"/>
              <a:gd name="connsiteY2" fmla="*/ 1515906 h 5218405"/>
              <a:gd name="connsiteX3" fmla="*/ 653158 w 4595298"/>
              <a:gd name="connsiteY3" fmla="*/ 518843 h 5218405"/>
              <a:gd name="connsiteX4" fmla="*/ 1028021 w 4595298"/>
              <a:gd name="connsiteY4" fmla="*/ 1684 h 5218405"/>
              <a:gd name="connsiteX5" fmla="*/ 1781985 w 4595298"/>
              <a:gd name="connsiteY5" fmla="*/ 709164 h 5218405"/>
              <a:gd name="connsiteX6" fmla="*/ 2479894 w 4595298"/>
              <a:gd name="connsiteY6" fmla="*/ 1281388 h 5218405"/>
              <a:gd name="connsiteX7" fmla="*/ 3422538 w 4595298"/>
              <a:gd name="connsiteY7" fmla="*/ 1671458 h 5218405"/>
              <a:gd name="connsiteX8" fmla="*/ 3748627 w 4595298"/>
              <a:gd name="connsiteY8" fmla="*/ 2190248 h 5218405"/>
              <a:gd name="connsiteX9" fmla="*/ 4051256 w 4595298"/>
              <a:gd name="connsiteY9" fmla="*/ 2757159 h 5218405"/>
              <a:gd name="connsiteX10" fmla="*/ 4592550 w 4595298"/>
              <a:gd name="connsiteY10" fmla="*/ 3494407 h 5218405"/>
              <a:gd name="connsiteX11" fmla="*/ 3838568 w 4595298"/>
              <a:gd name="connsiteY11" fmla="*/ 3479402 h 5218405"/>
              <a:gd name="connsiteX12" fmla="*/ 3201487 w 4595298"/>
              <a:gd name="connsiteY12" fmla="*/ 3284528 h 5218405"/>
              <a:gd name="connsiteX13" fmla="*/ 2685413 w 4595298"/>
              <a:gd name="connsiteY13" fmla="*/ 4026759 h 5218405"/>
              <a:gd name="connsiteX14" fmla="*/ 1723654 w 4595298"/>
              <a:gd name="connsiteY14" fmla="*/ 4942377 h 5218405"/>
              <a:gd name="connsiteX15" fmla="*/ 773298 w 4595298"/>
              <a:gd name="connsiteY15" fmla="*/ 5206964 h 5218405"/>
              <a:gd name="connsiteX16" fmla="*/ 0 w 4595298"/>
              <a:gd name="connsiteY16" fmla="*/ 4313311 h 5218405"/>
              <a:gd name="connsiteX17" fmla="*/ 269701 w 4595298"/>
              <a:gd name="connsiteY17" fmla="*/ 3259887 h 5218405"/>
              <a:gd name="connsiteX0" fmla="*/ 269701 w 4594378"/>
              <a:gd name="connsiteY0" fmla="*/ 3259887 h 5218405"/>
              <a:gd name="connsiteX1" fmla="*/ 150989 w 4594378"/>
              <a:gd name="connsiteY1" fmla="*/ 2324291 h 5218405"/>
              <a:gd name="connsiteX2" fmla="*/ 773841 w 4594378"/>
              <a:gd name="connsiteY2" fmla="*/ 1515906 h 5218405"/>
              <a:gd name="connsiteX3" fmla="*/ 653158 w 4594378"/>
              <a:gd name="connsiteY3" fmla="*/ 518843 h 5218405"/>
              <a:gd name="connsiteX4" fmla="*/ 1028021 w 4594378"/>
              <a:gd name="connsiteY4" fmla="*/ 1684 h 5218405"/>
              <a:gd name="connsiteX5" fmla="*/ 1781985 w 4594378"/>
              <a:gd name="connsiteY5" fmla="*/ 709164 h 5218405"/>
              <a:gd name="connsiteX6" fmla="*/ 2479894 w 4594378"/>
              <a:gd name="connsiteY6" fmla="*/ 1281388 h 5218405"/>
              <a:gd name="connsiteX7" fmla="*/ 3422538 w 4594378"/>
              <a:gd name="connsiteY7" fmla="*/ 1671458 h 5218405"/>
              <a:gd name="connsiteX8" fmla="*/ 3748627 w 4594378"/>
              <a:gd name="connsiteY8" fmla="*/ 2190248 h 5218405"/>
              <a:gd name="connsiteX9" fmla="*/ 3856383 w 4594378"/>
              <a:gd name="connsiteY9" fmla="*/ 2839605 h 5218405"/>
              <a:gd name="connsiteX10" fmla="*/ 4592550 w 4594378"/>
              <a:gd name="connsiteY10" fmla="*/ 3494407 h 5218405"/>
              <a:gd name="connsiteX11" fmla="*/ 3838568 w 4594378"/>
              <a:gd name="connsiteY11" fmla="*/ 3479402 h 5218405"/>
              <a:gd name="connsiteX12" fmla="*/ 3201487 w 4594378"/>
              <a:gd name="connsiteY12" fmla="*/ 3284528 h 5218405"/>
              <a:gd name="connsiteX13" fmla="*/ 2685413 w 4594378"/>
              <a:gd name="connsiteY13" fmla="*/ 4026759 h 5218405"/>
              <a:gd name="connsiteX14" fmla="*/ 1723654 w 4594378"/>
              <a:gd name="connsiteY14" fmla="*/ 4942377 h 5218405"/>
              <a:gd name="connsiteX15" fmla="*/ 773298 w 4594378"/>
              <a:gd name="connsiteY15" fmla="*/ 5206964 h 5218405"/>
              <a:gd name="connsiteX16" fmla="*/ 0 w 4594378"/>
              <a:gd name="connsiteY16" fmla="*/ 4313311 h 5218405"/>
              <a:gd name="connsiteX17" fmla="*/ 269701 w 4594378"/>
              <a:gd name="connsiteY17" fmla="*/ 3259887 h 5218405"/>
              <a:gd name="connsiteX0" fmla="*/ 269701 w 4595056"/>
              <a:gd name="connsiteY0" fmla="*/ 3259887 h 5218405"/>
              <a:gd name="connsiteX1" fmla="*/ 150989 w 4595056"/>
              <a:gd name="connsiteY1" fmla="*/ 2324291 h 5218405"/>
              <a:gd name="connsiteX2" fmla="*/ 773841 w 4595056"/>
              <a:gd name="connsiteY2" fmla="*/ 1515906 h 5218405"/>
              <a:gd name="connsiteX3" fmla="*/ 653158 w 4595056"/>
              <a:gd name="connsiteY3" fmla="*/ 518843 h 5218405"/>
              <a:gd name="connsiteX4" fmla="*/ 1028021 w 4595056"/>
              <a:gd name="connsiteY4" fmla="*/ 1684 h 5218405"/>
              <a:gd name="connsiteX5" fmla="*/ 1781985 w 4595056"/>
              <a:gd name="connsiteY5" fmla="*/ 709164 h 5218405"/>
              <a:gd name="connsiteX6" fmla="*/ 2479894 w 4595056"/>
              <a:gd name="connsiteY6" fmla="*/ 1281388 h 5218405"/>
              <a:gd name="connsiteX7" fmla="*/ 3422538 w 4595056"/>
              <a:gd name="connsiteY7" fmla="*/ 1671458 h 5218405"/>
              <a:gd name="connsiteX8" fmla="*/ 3748627 w 4595056"/>
              <a:gd name="connsiteY8" fmla="*/ 2190248 h 5218405"/>
              <a:gd name="connsiteX9" fmla="*/ 4013780 w 4595056"/>
              <a:gd name="connsiteY9" fmla="*/ 2727179 h 5218405"/>
              <a:gd name="connsiteX10" fmla="*/ 4592550 w 4595056"/>
              <a:gd name="connsiteY10" fmla="*/ 3494407 h 5218405"/>
              <a:gd name="connsiteX11" fmla="*/ 3838568 w 4595056"/>
              <a:gd name="connsiteY11" fmla="*/ 3479402 h 5218405"/>
              <a:gd name="connsiteX12" fmla="*/ 3201487 w 4595056"/>
              <a:gd name="connsiteY12" fmla="*/ 3284528 h 5218405"/>
              <a:gd name="connsiteX13" fmla="*/ 2685413 w 4595056"/>
              <a:gd name="connsiteY13" fmla="*/ 4026759 h 5218405"/>
              <a:gd name="connsiteX14" fmla="*/ 1723654 w 4595056"/>
              <a:gd name="connsiteY14" fmla="*/ 4942377 h 5218405"/>
              <a:gd name="connsiteX15" fmla="*/ 773298 w 4595056"/>
              <a:gd name="connsiteY15" fmla="*/ 5206964 h 5218405"/>
              <a:gd name="connsiteX16" fmla="*/ 0 w 4595056"/>
              <a:gd name="connsiteY16" fmla="*/ 4313311 h 5218405"/>
              <a:gd name="connsiteX17" fmla="*/ 269701 w 4595056"/>
              <a:gd name="connsiteY17" fmla="*/ 3259887 h 5218405"/>
              <a:gd name="connsiteX0" fmla="*/ 269701 w 4595056"/>
              <a:gd name="connsiteY0" fmla="*/ 3259887 h 5218405"/>
              <a:gd name="connsiteX1" fmla="*/ 150989 w 4595056"/>
              <a:gd name="connsiteY1" fmla="*/ 2324291 h 5218405"/>
              <a:gd name="connsiteX2" fmla="*/ 773841 w 4595056"/>
              <a:gd name="connsiteY2" fmla="*/ 1515906 h 5218405"/>
              <a:gd name="connsiteX3" fmla="*/ 653158 w 4595056"/>
              <a:gd name="connsiteY3" fmla="*/ 518843 h 5218405"/>
              <a:gd name="connsiteX4" fmla="*/ 1028021 w 4595056"/>
              <a:gd name="connsiteY4" fmla="*/ 1684 h 5218405"/>
              <a:gd name="connsiteX5" fmla="*/ 1781985 w 4595056"/>
              <a:gd name="connsiteY5" fmla="*/ 709164 h 5218405"/>
              <a:gd name="connsiteX6" fmla="*/ 2479894 w 4595056"/>
              <a:gd name="connsiteY6" fmla="*/ 1281388 h 5218405"/>
              <a:gd name="connsiteX7" fmla="*/ 3422538 w 4595056"/>
              <a:gd name="connsiteY7" fmla="*/ 1671458 h 5218405"/>
              <a:gd name="connsiteX8" fmla="*/ 3456319 w 4595056"/>
              <a:gd name="connsiteY8" fmla="*/ 2287684 h 5218405"/>
              <a:gd name="connsiteX9" fmla="*/ 4013780 w 4595056"/>
              <a:gd name="connsiteY9" fmla="*/ 2727179 h 5218405"/>
              <a:gd name="connsiteX10" fmla="*/ 4592550 w 4595056"/>
              <a:gd name="connsiteY10" fmla="*/ 3494407 h 5218405"/>
              <a:gd name="connsiteX11" fmla="*/ 3838568 w 4595056"/>
              <a:gd name="connsiteY11" fmla="*/ 3479402 h 5218405"/>
              <a:gd name="connsiteX12" fmla="*/ 3201487 w 4595056"/>
              <a:gd name="connsiteY12" fmla="*/ 3284528 h 5218405"/>
              <a:gd name="connsiteX13" fmla="*/ 2685413 w 4595056"/>
              <a:gd name="connsiteY13" fmla="*/ 4026759 h 5218405"/>
              <a:gd name="connsiteX14" fmla="*/ 1723654 w 4595056"/>
              <a:gd name="connsiteY14" fmla="*/ 4942377 h 5218405"/>
              <a:gd name="connsiteX15" fmla="*/ 773298 w 4595056"/>
              <a:gd name="connsiteY15" fmla="*/ 5206964 h 5218405"/>
              <a:gd name="connsiteX16" fmla="*/ 0 w 4595056"/>
              <a:gd name="connsiteY16" fmla="*/ 4313311 h 5218405"/>
              <a:gd name="connsiteX17" fmla="*/ 269701 w 4595056"/>
              <a:gd name="connsiteY17" fmla="*/ 3259887 h 5218405"/>
              <a:gd name="connsiteX0" fmla="*/ 269701 w 4595056"/>
              <a:gd name="connsiteY0" fmla="*/ 3259887 h 5218405"/>
              <a:gd name="connsiteX1" fmla="*/ 150989 w 4595056"/>
              <a:gd name="connsiteY1" fmla="*/ 2324291 h 5218405"/>
              <a:gd name="connsiteX2" fmla="*/ 773841 w 4595056"/>
              <a:gd name="connsiteY2" fmla="*/ 1515906 h 5218405"/>
              <a:gd name="connsiteX3" fmla="*/ 653158 w 4595056"/>
              <a:gd name="connsiteY3" fmla="*/ 518843 h 5218405"/>
              <a:gd name="connsiteX4" fmla="*/ 1028021 w 4595056"/>
              <a:gd name="connsiteY4" fmla="*/ 1684 h 5218405"/>
              <a:gd name="connsiteX5" fmla="*/ 1781985 w 4595056"/>
              <a:gd name="connsiteY5" fmla="*/ 709164 h 5218405"/>
              <a:gd name="connsiteX6" fmla="*/ 2479894 w 4595056"/>
              <a:gd name="connsiteY6" fmla="*/ 1281388 h 5218405"/>
              <a:gd name="connsiteX7" fmla="*/ 3422538 w 4595056"/>
              <a:gd name="connsiteY7" fmla="*/ 1671458 h 5218405"/>
              <a:gd name="connsiteX8" fmla="*/ 3741132 w 4595056"/>
              <a:gd name="connsiteY8" fmla="*/ 2182753 h 5218405"/>
              <a:gd name="connsiteX9" fmla="*/ 4013780 w 4595056"/>
              <a:gd name="connsiteY9" fmla="*/ 2727179 h 5218405"/>
              <a:gd name="connsiteX10" fmla="*/ 4592550 w 4595056"/>
              <a:gd name="connsiteY10" fmla="*/ 3494407 h 5218405"/>
              <a:gd name="connsiteX11" fmla="*/ 3838568 w 4595056"/>
              <a:gd name="connsiteY11" fmla="*/ 3479402 h 5218405"/>
              <a:gd name="connsiteX12" fmla="*/ 3201487 w 4595056"/>
              <a:gd name="connsiteY12" fmla="*/ 3284528 h 5218405"/>
              <a:gd name="connsiteX13" fmla="*/ 2685413 w 4595056"/>
              <a:gd name="connsiteY13" fmla="*/ 4026759 h 5218405"/>
              <a:gd name="connsiteX14" fmla="*/ 1723654 w 4595056"/>
              <a:gd name="connsiteY14" fmla="*/ 4942377 h 5218405"/>
              <a:gd name="connsiteX15" fmla="*/ 773298 w 4595056"/>
              <a:gd name="connsiteY15" fmla="*/ 5206964 h 5218405"/>
              <a:gd name="connsiteX16" fmla="*/ 0 w 4595056"/>
              <a:gd name="connsiteY16" fmla="*/ 4313311 h 5218405"/>
              <a:gd name="connsiteX17" fmla="*/ 269701 w 4595056"/>
              <a:gd name="connsiteY17" fmla="*/ 3259887 h 5218405"/>
              <a:gd name="connsiteX0" fmla="*/ 269701 w 4595056"/>
              <a:gd name="connsiteY0" fmla="*/ 3259887 h 5218405"/>
              <a:gd name="connsiteX1" fmla="*/ 150989 w 4595056"/>
              <a:gd name="connsiteY1" fmla="*/ 2324291 h 5218405"/>
              <a:gd name="connsiteX2" fmla="*/ 773841 w 4595056"/>
              <a:gd name="connsiteY2" fmla="*/ 1515906 h 5218405"/>
              <a:gd name="connsiteX3" fmla="*/ 653158 w 4595056"/>
              <a:gd name="connsiteY3" fmla="*/ 518843 h 5218405"/>
              <a:gd name="connsiteX4" fmla="*/ 1028021 w 4595056"/>
              <a:gd name="connsiteY4" fmla="*/ 1684 h 5218405"/>
              <a:gd name="connsiteX5" fmla="*/ 1781985 w 4595056"/>
              <a:gd name="connsiteY5" fmla="*/ 709164 h 5218405"/>
              <a:gd name="connsiteX6" fmla="*/ 2479894 w 4595056"/>
              <a:gd name="connsiteY6" fmla="*/ 1281388 h 5218405"/>
              <a:gd name="connsiteX7" fmla="*/ 3250151 w 4595056"/>
              <a:gd name="connsiteY7" fmla="*/ 1873825 h 5218405"/>
              <a:gd name="connsiteX8" fmla="*/ 3741132 w 4595056"/>
              <a:gd name="connsiteY8" fmla="*/ 2182753 h 5218405"/>
              <a:gd name="connsiteX9" fmla="*/ 4013780 w 4595056"/>
              <a:gd name="connsiteY9" fmla="*/ 2727179 h 5218405"/>
              <a:gd name="connsiteX10" fmla="*/ 4592550 w 4595056"/>
              <a:gd name="connsiteY10" fmla="*/ 3494407 h 5218405"/>
              <a:gd name="connsiteX11" fmla="*/ 3838568 w 4595056"/>
              <a:gd name="connsiteY11" fmla="*/ 3479402 h 5218405"/>
              <a:gd name="connsiteX12" fmla="*/ 3201487 w 4595056"/>
              <a:gd name="connsiteY12" fmla="*/ 3284528 h 5218405"/>
              <a:gd name="connsiteX13" fmla="*/ 2685413 w 4595056"/>
              <a:gd name="connsiteY13" fmla="*/ 4026759 h 5218405"/>
              <a:gd name="connsiteX14" fmla="*/ 1723654 w 4595056"/>
              <a:gd name="connsiteY14" fmla="*/ 4942377 h 5218405"/>
              <a:gd name="connsiteX15" fmla="*/ 773298 w 4595056"/>
              <a:gd name="connsiteY15" fmla="*/ 5206964 h 5218405"/>
              <a:gd name="connsiteX16" fmla="*/ 0 w 4595056"/>
              <a:gd name="connsiteY16" fmla="*/ 4313311 h 5218405"/>
              <a:gd name="connsiteX17" fmla="*/ 269701 w 4595056"/>
              <a:gd name="connsiteY17" fmla="*/ 3259887 h 5218405"/>
              <a:gd name="connsiteX0" fmla="*/ 269701 w 4595056"/>
              <a:gd name="connsiteY0" fmla="*/ 3259887 h 5218405"/>
              <a:gd name="connsiteX1" fmla="*/ 150989 w 4595056"/>
              <a:gd name="connsiteY1" fmla="*/ 2324291 h 5218405"/>
              <a:gd name="connsiteX2" fmla="*/ 773841 w 4595056"/>
              <a:gd name="connsiteY2" fmla="*/ 1515906 h 5218405"/>
              <a:gd name="connsiteX3" fmla="*/ 653158 w 4595056"/>
              <a:gd name="connsiteY3" fmla="*/ 518843 h 5218405"/>
              <a:gd name="connsiteX4" fmla="*/ 1028021 w 4595056"/>
              <a:gd name="connsiteY4" fmla="*/ 1684 h 5218405"/>
              <a:gd name="connsiteX5" fmla="*/ 1781985 w 4595056"/>
              <a:gd name="connsiteY5" fmla="*/ 709164 h 5218405"/>
              <a:gd name="connsiteX6" fmla="*/ 2479894 w 4595056"/>
              <a:gd name="connsiteY6" fmla="*/ 1281388 h 5218405"/>
              <a:gd name="connsiteX7" fmla="*/ 3445023 w 4595056"/>
              <a:gd name="connsiteY7" fmla="*/ 1678953 h 5218405"/>
              <a:gd name="connsiteX8" fmla="*/ 3741132 w 4595056"/>
              <a:gd name="connsiteY8" fmla="*/ 2182753 h 5218405"/>
              <a:gd name="connsiteX9" fmla="*/ 4013780 w 4595056"/>
              <a:gd name="connsiteY9" fmla="*/ 2727179 h 5218405"/>
              <a:gd name="connsiteX10" fmla="*/ 4592550 w 4595056"/>
              <a:gd name="connsiteY10" fmla="*/ 3494407 h 5218405"/>
              <a:gd name="connsiteX11" fmla="*/ 3838568 w 4595056"/>
              <a:gd name="connsiteY11" fmla="*/ 3479402 h 5218405"/>
              <a:gd name="connsiteX12" fmla="*/ 3201487 w 4595056"/>
              <a:gd name="connsiteY12" fmla="*/ 3284528 h 5218405"/>
              <a:gd name="connsiteX13" fmla="*/ 2685413 w 4595056"/>
              <a:gd name="connsiteY13" fmla="*/ 4026759 h 5218405"/>
              <a:gd name="connsiteX14" fmla="*/ 1723654 w 4595056"/>
              <a:gd name="connsiteY14" fmla="*/ 4942377 h 5218405"/>
              <a:gd name="connsiteX15" fmla="*/ 773298 w 4595056"/>
              <a:gd name="connsiteY15" fmla="*/ 5206964 h 5218405"/>
              <a:gd name="connsiteX16" fmla="*/ 0 w 4595056"/>
              <a:gd name="connsiteY16" fmla="*/ 4313311 h 5218405"/>
              <a:gd name="connsiteX17" fmla="*/ 269701 w 4595056"/>
              <a:gd name="connsiteY17" fmla="*/ 3259887 h 5218405"/>
              <a:gd name="connsiteX0" fmla="*/ 269701 w 4595056"/>
              <a:gd name="connsiteY0" fmla="*/ 3259887 h 5218405"/>
              <a:gd name="connsiteX1" fmla="*/ 150989 w 4595056"/>
              <a:gd name="connsiteY1" fmla="*/ 2324291 h 5218405"/>
              <a:gd name="connsiteX2" fmla="*/ 773841 w 4595056"/>
              <a:gd name="connsiteY2" fmla="*/ 1515906 h 5218405"/>
              <a:gd name="connsiteX3" fmla="*/ 653158 w 4595056"/>
              <a:gd name="connsiteY3" fmla="*/ 518843 h 5218405"/>
              <a:gd name="connsiteX4" fmla="*/ 1028021 w 4595056"/>
              <a:gd name="connsiteY4" fmla="*/ 1684 h 5218405"/>
              <a:gd name="connsiteX5" fmla="*/ 1781985 w 4595056"/>
              <a:gd name="connsiteY5" fmla="*/ 709164 h 5218405"/>
              <a:gd name="connsiteX6" fmla="*/ 2434924 w 4595056"/>
              <a:gd name="connsiteY6" fmla="*/ 1558706 h 5218405"/>
              <a:gd name="connsiteX7" fmla="*/ 3445023 w 4595056"/>
              <a:gd name="connsiteY7" fmla="*/ 1678953 h 5218405"/>
              <a:gd name="connsiteX8" fmla="*/ 3741132 w 4595056"/>
              <a:gd name="connsiteY8" fmla="*/ 2182753 h 5218405"/>
              <a:gd name="connsiteX9" fmla="*/ 4013780 w 4595056"/>
              <a:gd name="connsiteY9" fmla="*/ 2727179 h 5218405"/>
              <a:gd name="connsiteX10" fmla="*/ 4592550 w 4595056"/>
              <a:gd name="connsiteY10" fmla="*/ 3494407 h 5218405"/>
              <a:gd name="connsiteX11" fmla="*/ 3838568 w 4595056"/>
              <a:gd name="connsiteY11" fmla="*/ 3479402 h 5218405"/>
              <a:gd name="connsiteX12" fmla="*/ 3201487 w 4595056"/>
              <a:gd name="connsiteY12" fmla="*/ 3284528 h 5218405"/>
              <a:gd name="connsiteX13" fmla="*/ 2685413 w 4595056"/>
              <a:gd name="connsiteY13" fmla="*/ 4026759 h 5218405"/>
              <a:gd name="connsiteX14" fmla="*/ 1723654 w 4595056"/>
              <a:gd name="connsiteY14" fmla="*/ 4942377 h 5218405"/>
              <a:gd name="connsiteX15" fmla="*/ 773298 w 4595056"/>
              <a:gd name="connsiteY15" fmla="*/ 5206964 h 5218405"/>
              <a:gd name="connsiteX16" fmla="*/ 0 w 4595056"/>
              <a:gd name="connsiteY16" fmla="*/ 4313311 h 5218405"/>
              <a:gd name="connsiteX17" fmla="*/ 269701 w 4595056"/>
              <a:gd name="connsiteY17" fmla="*/ 3259887 h 5218405"/>
              <a:gd name="connsiteX0" fmla="*/ 269701 w 4595056"/>
              <a:gd name="connsiteY0" fmla="*/ 3259887 h 5218405"/>
              <a:gd name="connsiteX1" fmla="*/ 150989 w 4595056"/>
              <a:gd name="connsiteY1" fmla="*/ 2324291 h 5218405"/>
              <a:gd name="connsiteX2" fmla="*/ 773841 w 4595056"/>
              <a:gd name="connsiteY2" fmla="*/ 1515906 h 5218405"/>
              <a:gd name="connsiteX3" fmla="*/ 653158 w 4595056"/>
              <a:gd name="connsiteY3" fmla="*/ 518843 h 5218405"/>
              <a:gd name="connsiteX4" fmla="*/ 1028021 w 4595056"/>
              <a:gd name="connsiteY4" fmla="*/ 1684 h 5218405"/>
              <a:gd name="connsiteX5" fmla="*/ 1781985 w 4595056"/>
              <a:gd name="connsiteY5" fmla="*/ 709164 h 5218405"/>
              <a:gd name="connsiteX6" fmla="*/ 2547350 w 4595056"/>
              <a:gd name="connsiteY6" fmla="*/ 1311368 h 5218405"/>
              <a:gd name="connsiteX7" fmla="*/ 3445023 w 4595056"/>
              <a:gd name="connsiteY7" fmla="*/ 1678953 h 5218405"/>
              <a:gd name="connsiteX8" fmla="*/ 3741132 w 4595056"/>
              <a:gd name="connsiteY8" fmla="*/ 2182753 h 5218405"/>
              <a:gd name="connsiteX9" fmla="*/ 4013780 w 4595056"/>
              <a:gd name="connsiteY9" fmla="*/ 2727179 h 5218405"/>
              <a:gd name="connsiteX10" fmla="*/ 4592550 w 4595056"/>
              <a:gd name="connsiteY10" fmla="*/ 3494407 h 5218405"/>
              <a:gd name="connsiteX11" fmla="*/ 3838568 w 4595056"/>
              <a:gd name="connsiteY11" fmla="*/ 3479402 h 5218405"/>
              <a:gd name="connsiteX12" fmla="*/ 3201487 w 4595056"/>
              <a:gd name="connsiteY12" fmla="*/ 3284528 h 5218405"/>
              <a:gd name="connsiteX13" fmla="*/ 2685413 w 4595056"/>
              <a:gd name="connsiteY13" fmla="*/ 4026759 h 5218405"/>
              <a:gd name="connsiteX14" fmla="*/ 1723654 w 4595056"/>
              <a:gd name="connsiteY14" fmla="*/ 4942377 h 5218405"/>
              <a:gd name="connsiteX15" fmla="*/ 773298 w 4595056"/>
              <a:gd name="connsiteY15" fmla="*/ 5206964 h 5218405"/>
              <a:gd name="connsiteX16" fmla="*/ 0 w 4595056"/>
              <a:gd name="connsiteY16" fmla="*/ 4313311 h 5218405"/>
              <a:gd name="connsiteX17" fmla="*/ 269701 w 4595056"/>
              <a:gd name="connsiteY17" fmla="*/ 3259887 h 5218405"/>
              <a:gd name="connsiteX0" fmla="*/ 269701 w 4595056"/>
              <a:gd name="connsiteY0" fmla="*/ 3259887 h 5218405"/>
              <a:gd name="connsiteX1" fmla="*/ 150989 w 4595056"/>
              <a:gd name="connsiteY1" fmla="*/ 2324291 h 5218405"/>
              <a:gd name="connsiteX2" fmla="*/ 773841 w 4595056"/>
              <a:gd name="connsiteY2" fmla="*/ 1515906 h 5218405"/>
              <a:gd name="connsiteX3" fmla="*/ 653158 w 4595056"/>
              <a:gd name="connsiteY3" fmla="*/ 518843 h 5218405"/>
              <a:gd name="connsiteX4" fmla="*/ 1028021 w 4595056"/>
              <a:gd name="connsiteY4" fmla="*/ 1684 h 5218405"/>
              <a:gd name="connsiteX5" fmla="*/ 1587113 w 4595056"/>
              <a:gd name="connsiteY5" fmla="*/ 889046 h 5218405"/>
              <a:gd name="connsiteX6" fmla="*/ 2547350 w 4595056"/>
              <a:gd name="connsiteY6" fmla="*/ 1311368 h 5218405"/>
              <a:gd name="connsiteX7" fmla="*/ 3445023 w 4595056"/>
              <a:gd name="connsiteY7" fmla="*/ 1678953 h 5218405"/>
              <a:gd name="connsiteX8" fmla="*/ 3741132 w 4595056"/>
              <a:gd name="connsiteY8" fmla="*/ 2182753 h 5218405"/>
              <a:gd name="connsiteX9" fmla="*/ 4013780 w 4595056"/>
              <a:gd name="connsiteY9" fmla="*/ 2727179 h 5218405"/>
              <a:gd name="connsiteX10" fmla="*/ 4592550 w 4595056"/>
              <a:gd name="connsiteY10" fmla="*/ 3494407 h 5218405"/>
              <a:gd name="connsiteX11" fmla="*/ 3838568 w 4595056"/>
              <a:gd name="connsiteY11" fmla="*/ 3479402 h 5218405"/>
              <a:gd name="connsiteX12" fmla="*/ 3201487 w 4595056"/>
              <a:gd name="connsiteY12" fmla="*/ 3284528 h 5218405"/>
              <a:gd name="connsiteX13" fmla="*/ 2685413 w 4595056"/>
              <a:gd name="connsiteY13" fmla="*/ 4026759 h 5218405"/>
              <a:gd name="connsiteX14" fmla="*/ 1723654 w 4595056"/>
              <a:gd name="connsiteY14" fmla="*/ 4942377 h 5218405"/>
              <a:gd name="connsiteX15" fmla="*/ 773298 w 4595056"/>
              <a:gd name="connsiteY15" fmla="*/ 5206964 h 5218405"/>
              <a:gd name="connsiteX16" fmla="*/ 0 w 4595056"/>
              <a:gd name="connsiteY16" fmla="*/ 4313311 h 5218405"/>
              <a:gd name="connsiteX17" fmla="*/ 269701 w 4595056"/>
              <a:gd name="connsiteY17" fmla="*/ 3259887 h 5218405"/>
              <a:gd name="connsiteX0" fmla="*/ 269701 w 4595056"/>
              <a:gd name="connsiteY0" fmla="*/ 3259887 h 5218405"/>
              <a:gd name="connsiteX1" fmla="*/ 150989 w 4595056"/>
              <a:gd name="connsiteY1" fmla="*/ 2324291 h 5218405"/>
              <a:gd name="connsiteX2" fmla="*/ 773841 w 4595056"/>
              <a:gd name="connsiteY2" fmla="*/ 1515906 h 5218405"/>
              <a:gd name="connsiteX3" fmla="*/ 653158 w 4595056"/>
              <a:gd name="connsiteY3" fmla="*/ 518843 h 5218405"/>
              <a:gd name="connsiteX4" fmla="*/ 1028021 w 4595056"/>
              <a:gd name="connsiteY4" fmla="*/ 1684 h 5218405"/>
              <a:gd name="connsiteX5" fmla="*/ 1841946 w 4595056"/>
              <a:gd name="connsiteY5" fmla="*/ 776619 h 5218405"/>
              <a:gd name="connsiteX6" fmla="*/ 2547350 w 4595056"/>
              <a:gd name="connsiteY6" fmla="*/ 1311368 h 5218405"/>
              <a:gd name="connsiteX7" fmla="*/ 3445023 w 4595056"/>
              <a:gd name="connsiteY7" fmla="*/ 1678953 h 5218405"/>
              <a:gd name="connsiteX8" fmla="*/ 3741132 w 4595056"/>
              <a:gd name="connsiteY8" fmla="*/ 2182753 h 5218405"/>
              <a:gd name="connsiteX9" fmla="*/ 4013780 w 4595056"/>
              <a:gd name="connsiteY9" fmla="*/ 2727179 h 5218405"/>
              <a:gd name="connsiteX10" fmla="*/ 4592550 w 4595056"/>
              <a:gd name="connsiteY10" fmla="*/ 3494407 h 5218405"/>
              <a:gd name="connsiteX11" fmla="*/ 3838568 w 4595056"/>
              <a:gd name="connsiteY11" fmla="*/ 3479402 h 5218405"/>
              <a:gd name="connsiteX12" fmla="*/ 3201487 w 4595056"/>
              <a:gd name="connsiteY12" fmla="*/ 3284528 h 5218405"/>
              <a:gd name="connsiteX13" fmla="*/ 2685413 w 4595056"/>
              <a:gd name="connsiteY13" fmla="*/ 4026759 h 5218405"/>
              <a:gd name="connsiteX14" fmla="*/ 1723654 w 4595056"/>
              <a:gd name="connsiteY14" fmla="*/ 4942377 h 5218405"/>
              <a:gd name="connsiteX15" fmla="*/ 773298 w 4595056"/>
              <a:gd name="connsiteY15" fmla="*/ 5206964 h 5218405"/>
              <a:gd name="connsiteX16" fmla="*/ 0 w 4595056"/>
              <a:gd name="connsiteY16" fmla="*/ 4313311 h 5218405"/>
              <a:gd name="connsiteX17" fmla="*/ 269701 w 4595056"/>
              <a:gd name="connsiteY17" fmla="*/ 3259887 h 5218405"/>
              <a:gd name="connsiteX0" fmla="*/ 269701 w 4595056"/>
              <a:gd name="connsiteY0" fmla="*/ 3038616 h 4997134"/>
              <a:gd name="connsiteX1" fmla="*/ 150989 w 4595056"/>
              <a:gd name="connsiteY1" fmla="*/ 2103020 h 4997134"/>
              <a:gd name="connsiteX2" fmla="*/ 773841 w 4595056"/>
              <a:gd name="connsiteY2" fmla="*/ 1294635 h 4997134"/>
              <a:gd name="connsiteX3" fmla="*/ 653158 w 4595056"/>
              <a:gd name="connsiteY3" fmla="*/ 297572 h 4997134"/>
              <a:gd name="connsiteX4" fmla="*/ 1043012 w 4595056"/>
              <a:gd name="connsiteY4" fmla="*/ 5265 h 4997134"/>
              <a:gd name="connsiteX5" fmla="*/ 1841946 w 4595056"/>
              <a:gd name="connsiteY5" fmla="*/ 555348 h 4997134"/>
              <a:gd name="connsiteX6" fmla="*/ 2547350 w 4595056"/>
              <a:gd name="connsiteY6" fmla="*/ 1090097 h 4997134"/>
              <a:gd name="connsiteX7" fmla="*/ 3445023 w 4595056"/>
              <a:gd name="connsiteY7" fmla="*/ 1457682 h 4997134"/>
              <a:gd name="connsiteX8" fmla="*/ 3741132 w 4595056"/>
              <a:gd name="connsiteY8" fmla="*/ 1961482 h 4997134"/>
              <a:gd name="connsiteX9" fmla="*/ 4013780 w 4595056"/>
              <a:gd name="connsiteY9" fmla="*/ 2505908 h 4997134"/>
              <a:gd name="connsiteX10" fmla="*/ 4592550 w 4595056"/>
              <a:gd name="connsiteY10" fmla="*/ 3273136 h 4997134"/>
              <a:gd name="connsiteX11" fmla="*/ 3838568 w 4595056"/>
              <a:gd name="connsiteY11" fmla="*/ 3258131 h 4997134"/>
              <a:gd name="connsiteX12" fmla="*/ 3201487 w 4595056"/>
              <a:gd name="connsiteY12" fmla="*/ 3063257 h 4997134"/>
              <a:gd name="connsiteX13" fmla="*/ 2685413 w 4595056"/>
              <a:gd name="connsiteY13" fmla="*/ 3805488 h 4997134"/>
              <a:gd name="connsiteX14" fmla="*/ 1723654 w 4595056"/>
              <a:gd name="connsiteY14" fmla="*/ 4721106 h 4997134"/>
              <a:gd name="connsiteX15" fmla="*/ 773298 w 4595056"/>
              <a:gd name="connsiteY15" fmla="*/ 4985693 h 4997134"/>
              <a:gd name="connsiteX16" fmla="*/ 0 w 4595056"/>
              <a:gd name="connsiteY16" fmla="*/ 4092040 h 4997134"/>
              <a:gd name="connsiteX17" fmla="*/ 269701 w 4595056"/>
              <a:gd name="connsiteY17" fmla="*/ 3038616 h 4997134"/>
              <a:gd name="connsiteX0" fmla="*/ 269701 w 4595056"/>
              <a:gd name="connsiteY0" fmla="*/ 3274802 h 5233320"/>
              <a:gd name="connsiteX1" fmla="*/ 150989 w 4595056"/>
              <a:gd name="connsiteY1" fmla="*/ 2339206 h 5233320"/>
              <a:gd name="connsiteX2" fmla="*/ 773841 w 4595056"/>
              <a:gd name="connsiteY2" fmla="*/ 1530821 h 5233320"/>
              <a:gd name="connsiteX3" fmla="*/ 653158 w 4595056"/>
              <a:gd name="connsiteY3" fmla="*/ 533758 h 5233320"/>
              <a:gd name="connsiteX4" fmla="*/ 1005536 w 4595056"/>
              <a:gd name="connsiteY4" fmla="*/ 1609 h 5233320"/>
              <a:gd name="connsiteX5" fmla="*/ 1841946 w 4595056"/>
              <a:gd name="connsiteY5" fmla="*/ 791534 h 5233320"/>
              <a:gd name="connsiteX6" fmla="*/ 2547350 w 4595056"/>
              <a:gd name="connsiteY6" fmla="*/ 1326283 h 5233320"/>
              <a:gd name="connsiteX7" fmla="*/ 3445023 w 4595056"/>
              <a:gd name="connsiteY7" fmla="*/ 1693868 h 5233320"/>
              <a:gd name="connsiteX8" fmla="*/ 3741132 w 4595056"/>
              <a:gd name="connsiteY8" fmla="*/ 2197668 h 5233320"/>
              <a:gd name="connsiteX9" fmla="*/ 4013780 w 4595056"/>
              <a:gd name="connsiteY9" fmla="*/ 2742094 h 5233320"/>
              <a:gd name="connsiteX10" fmla="*/ 4592550 w 4595056"/>
              <a:gd name="connsiteY10" fmla="*/ 3509322 h 5233320"/>
              <a:gd name="connsiteX11" fmla="*/ 3838568 w 4595056"/>
              <a:gd name="connsiteY11" fmla="*/ 3494317 h 5233320"/>
              <a:gd name="connsiteX12" fmla="*/ 3201487 w 4595056"/>
              <a:gd name="connsiteY12" fmla="*/ 3299443 h 5233320"/>
              <a:gd name="connsiteX13" fmla="*/ 2685413 w 4595056"/>
              <a:gd name="connsiteY13" fmla="*/ 4041674 h 5233320"/>
              <a:gd name="connsiteX14" fmla="*/ 1723654 w 4595056"/>
              <a:gd name="connsiteY14" fmla="*/ 4957292 h 5233320"/>
              <a:gd name="connsiteX15" fmla="*/ 773298 w 4595056"/>
              <a:gd name="connsiteY15" fmla="*/ 5221879 h 5233320"/>
              <a:gd name="connsiteX16" fmla="*/ 0 w 4595056"/>
              <a:gd name="connsiteY16" fmla="*/ 4328226 h 5233320"/>
              <a:gd name="connsiteX17" fmla="*/ 269701 w 4595056"/>
              <a:gd name="connsiteY17" fmla="*/ 3274802 h 5233320"/>
              <a:gd name="connsiteX0" fmla="*/ 269701 w 4595056"/>
              <a:gd name="connsiteY0" fmla="*/ 3274641 h 5233159"/>
              <a:gd name="connsiteX1" fmla="*/ 150989 w 4595056"/>
              <a:gd name="connsiteY1" fmla="*/ 2339045 h 5233159"/>
              <a:gd name="connsiteX2" fmla="*/ 773841 w 4595056"/>
              <a:gd name="connsiteY2" fmla="*/ 1530660 h 5233159"/>
              <a:gd name="connsiteX3" fmla="*/ 885506 w 4595056"/>
              <a:gd name="connsiteY3" fmla="*/ 571073 h 5233159"/>
              <a:gd name="connsiteX4" fmla="*/ 1005536 w 4595056"/>
              <a:gd name="connsiteY4" fmla="*/ 1448 h 5233159"/>
              <a:gd name="connsiteX5" fmla="*/ 1841946 w 4595056"/>
              <a:gd name="connsiteY5" fmla="*/ 791373 h 5233159"/>
              <a:gd name="connsiteX6" fmla="*/ 2547350 w 4595056"/>
              <a:gd name="connsiteY6" fmla="*/ 1326122 h 5233159"/>
              <a:gd name="connsiteX7" fmla="*/ 3445023 w 4595056"/>
              <a:gd name="connsiteY7" fmla="*/ 1693707 h 5233159"/>
              <a:gd name="connsiteX8" fmla="*/ 3741132 w 4595056"/>
              <a:gd name="connsiteY8" fmla="*/ 2197507 h 5233159"/>
              <a:gd name="connsiteX9" fmla="*/ 4013780 w 4595056"/>
              <a:gd name="connsiteY9" fmla="*/ 2741933 h 5233159"/>
              <a:gd name="connsiteX10" fmla="*/ 4592550 w 4595056"/>
              <a:gd name="connsiteY10" fmla="*/ 3509161 h 5233159"/>
              <a:gd name="connsiteX11" fmla="*/ 3838568 w 4595056"/>
              <a:gd name="connsiteY11" fmla="*/ 3494156 h 5233159"/>
              <a:gd name="connsiteX12" fmla="*/ 3201487 w 4595056"/>
              <a:gd name="connsiteY12" fmla="*/ 3299282 h 5233159"/>
              <a:gd name="connsiteX13" fmla="*/ 2685413 w 4595056"/>
              <a:gd name="connsiteY13" fmla="*/ 4041513 h 5233159"/>
              <a:gd name="connsiteX14" fmla="*/ 1723654 w 4595056"/>
              <a:gd name="connsiteY14" fmla="*/ 4957131 h 5233159"/>
              <a:gd name="connsiteX15" fmla="*/ 773298 w 4595056"/>
              <a:gd name="connsiteY15" fmla="*/ 5221718 h 5233159"/>
              <a:gd name="connsiteX16" fmla="*/ 0 w 4595056"/>
              <a:gd name="connsiteY16" fmla="*/ 4328065 h 5233159"/>
              <a:gd name="connsiteX17" fmla="*/ 269701 w 4595056"/>
              <a:gd name="connsiteY17" fmla="*/ 3274641 h 5233159"/>
              <a:gd name="connsiteX0" fmla="*/ 269701 w 4595056"/>
              <a:gd name="connsiteY0" fmla="*/ 3274641 h 5233159"/>
              <a:gd name="connsiteX1" fmla="*/ 150989 w 4595056"/>
              <a:gd name="connsiteY1" fmla="*/ 2339045 h 5233159"/>
              <a:gd name="connsiteX2" fmla="*/ 773841 w 4595056"/>
              <a:gd name="connsiteY2" fmla="*/ 1530660 h 5233159"/>
              <a:gd name="connsiteX3" fmla="*/ 653159 w 4595056"/>
              <a:gd name="connsiteY3" fmla="*/ 571073 h 5233159"/>
              <a:gd name="connsiteX4" fmla="*/ 1005536 w 4595056"/>
              <a:gd name="connsiteY4" fmla="*/ 1448 h 5233159"/>
              <a:gd name="connsiteX5" fmla="*/ 1841946 w 4595056"/>
              <a:gd name="connsiteY5" fmla="*/ 791373 h 5233159"/>
              <a:gd name="connsiteX6" fmla="*/ 2547350 w 4595056"/>
              <a:gd name="connsiteY6" fmla="*/ 1326122 h 5233159"/>
              <a:gd name="connsiteX7" fmla="*/ 3445023 w 4595056"/>
              <a:gd name="connsiteY7" fmla="*/ 1693707 h 5233159"/>
              <a:gd name="connsiteX8" fmla="*/ 3741132 w 4595056"/>
              <a:gd name="connsiteY8" fmla="*/ 2197507 h 5233159"/>
              <a:gd name="connsiteX9" fmla="*/ 4013780 w 4595056"/>
              <a:gd name="connsiteY9" fmla="*/ 2741933 h 5233159"/>
              <a:gd name="connsiteX10" fmla="*/ 4592550 w 4595056"/>
              <a:gd name="connsiteY10" fmla="*/ 3509161 h 5233159"/>
              <a:gd name="connsiteX11" fmla="*/ 3838568 w 4595056"/>
              <a:gd name="connsiteY11" fmla="*/ 3494156 h 5233159"/>
              <a:gd name="connsiteX12" fmla="*/ 3201487 w 4595056"/>
              <a:gd name="connsiteY12" fmla="*/ 3299282 h 5233159"/>
              <a:gd name="connsiteX13" fmla="*/ 2685413 w 4595056"/>
              <a:gd name="connsiteY13" fmla="*/ 4041513 h 5233159"/>
              <a:gd name="connsiteX14" fmla="*/ 1723654 w 4595056"/>
              <a:gd name="connsiteY14" fmla="*/ 4957131 h 5233159"/>
              <a:gd name="connsiteX15" fmla="*/ 773298 w 4595056"/>
              <a:gd name="connsiteY15" fmla="*/ 5221718 h 5233159"/>
              <a:gd name="connsiteX16" fmla="*/ 0 w 4595056"/>
              <a:gd name="connsiteY16" fmla="*/ 4328065 h 5233159"/>
              <a:gd name="connsiteX17" fmla="*/ 269701 w 4595056"/>
              <a:gd name="connsiteY17" fmla="*/ 3274641 h 5233159"/>
              <a:gd name="connsiteX0" fmla="*/ 269701 w 4595056"/>
              <a:gd name="connsiteY0" fmla="*/ 3274641 h 5233159"/>
              <a:gd name="connsiteX1" fmla="*/ 150989 w 4595056"/>
              <a:gd name="connsiteY1" fmla="*/ 2339045 h 5233159"/>
              <a:gd name="connsiteX2" fmla="*/ 871277 w 4595056"/>
              <a:gd name="connsiteY2" fmla="*/ 1658077 h 5233159"/>
              <a:gd name="connsiteX3" fmla="*/ 653159 w 4595056"/>
              <a:gd name="connsiteY3" fmla="*/ 571073 h 5233159"/>
              <a:gd name="connsiteX4" fmla="*/ 1005536 w 4595056"/>
              <a:gd name="connsiteY4" fmla="*/ 1448 h 5233159"/>
              <a:gd name="connsiteX5" fmla="*/ 1841946 w 4595056"/>
              <a:gd name="connsiteY5" fmla="*/ 791373 h 5233159"/>
              <a:gd name="connsiteX6" fmla="*/ 2547350 w 4595056"/>
              <a:gd name="connsiteY6" fmla="*/ 1326122 h 5233159"/>
              <a:gd name="connsiteX7" fmla="*/ 3445023 w 4595056"/>
              <a:gd name="connsiteY7" fmla="*/ 1693707 h 5233159"/>
              <a:gd name="connsiteX8" fmla="*/ 3741132 w 4595056"/>
              <a:gd name="connsiteY8" fmla="*/ 2197507 h 5233159"/>
              <a:gd name="connsiteX9" fmla="*/ 4013780 w 4595056"/>
              <a:gd name="connsiteY9" fmla="*/ 2741933 h 5233159"/>
              <a:gd name="connsiteX10" fmla="*/ 4592550 w 4595056"/>
              <a:gd name="connsiteY10" fmla="*/ 3509161 h 5233159"/>
              <a:gd name="connsiteX11" fmla="*/ 3838568 w 4595056"/>
              <a:gd name="connsiteY11" fmla="*/ 3494156 h 5233159"/>
              <a:gd name="connsiteX12" fmla="*/ 3201487 w 4595056"/>
              <a:gd name="connsiteY12" fmla="*/ 3299282 h 5233159"/>
              <a:gd name="connsiteX13" fmla="*/ 2685413 w 4595056"/>
              <a:gd name="connsiteY13" fmla="*/ 4041513 h 5233159"/>
              <a:gd name="connsiteX14" fmla="*/ 1723654 w 4595056"/>
              <a:gd name="connsiteY14" fmla="*/ 4957131 h 5233159"/>
              <a:gd name="connsiteX15" fmla="*/ 773298 w 4595056"/>
              <a:gd name="connsiteY15" fmla="*/ 5221718 h 5233159"/>
              <a:gd name="connsiteX16" fmla="*/ 0 w 4595056"/>
              <a:gd name="connsiteY16" fmla="*/ 4328065 h 5233159"/>
              <a:gd name="connsiteX17" fmla="*/ 269701 w 4595056"/>
              <a:gd name="connsiteY17" fmla="*/ 3274641 h 5233159"/>
              <a:gd name="connsiteX0" fmla="*/ 269701 w 4595056"/>
              <a:gd name="connsiteY0" fmla="*/ 3274641 h 5233159"/>
              <a:gd name="connsiteX1" fmla="*/ 150989 w 4595056"/>
              <a:gd name="connsiteY1" fmla="*/ 2339045 h 5233159"/>
              <a:gd name="connsiteX2" fmla="*/ 766346 w 4595056"/>
              <a:gd name="connsiteY2" fmla="*/ 1530660 h 5233159"/>
              <a:gd name="connsiteX3" fmla="*/ 653159 w 4595056"/>
              <a:gd name="connsiteY3" fmla="*/ 571073 h 5233159"/>
              <a:gd name="connsiteX4" fmla="*/ 1005536 w 4595056"/>
              <a:gd name="connsiteY4" fmla="*/ 1448 h 5233159"/>
              <a:gd name="connsiteX5" fmla="*/ 1841946 w 4595056"/>
              <a:gd name="connsiteY5" fmla="*/ 791373 h 5233159"/>
              <a:gd name="connsiteX6" fmla="*/ 2547350 w 4595056"/>
              <a:gd name="connsiteY6" fmla="*/ 1326122 h 5233159"/>
              <a:gd name="connsiteX7" fmla="*/ 3445023 w 4595056"/>
              <a:gd name="connsiteY7" fmla="*/ 1693707 h 5233159"/>
              <a:gd name="connsiteX8" fmla="*/ 3741132 w 4595056"/>
              <a:gd name="connsiteY8" fmla="*/ 2197507 h 5233159"/>
              <a:gd name="connsiteX9" fmla="*/ 4013780 w 4595056"/>
              <a:gd name="connsiteY9" fmla="*/ 2741933 h 5233159"/>
              <a:gd name="connsiteX10" fmla="*/ 4592550 w 4595056"/>
              <a:gd name="connsiteY10" fmla="*/ 3509161 h 5233159"/>
              <a:gd name="connsiteX11" fmla="*/ 3838568 w 4595056"/>
              <a:gd name="connsiteY11" fmla="*/ 3494156 h 5233159"/>
              <a:gd name="connsiteX12" fmla="*/ 3201487 w 4595056"/>
              <a:gd name="connsiteY12" fmla="*/ 3299282 h 5233159"/>
              <a:gd name="connsiteX13" fmla="*/ 2685413 w 4595056"/>
              <a:gd name="connsiteY13" fmla="*/ 4041513 h 5233159"/>
              <a:gd name="connsiteX14" fmla="*/ 1723654 w 4595056"/>
              <a:gd name="connsiteY14" fmla="*/ 4957131 h 5233159"/>
              <a:gd name="connsiteX15" fmla="*/ 773298 w 4595056"/>
              <a:gd name="connsiteY15" fmla="*/ 5221718 h 5233159"/>
              <a:gd name="connsiteX16" fmla="*/ 0 w 4595056"/>
              <a:gd name="connsiteY16" fmla="*/ 4328065 h 5233159"/>
              <a:gd name="connsiteX17" fmla="*/ 269701 w 4595056"/>
              <a:gd name="connsiteY17" fmla="*/ 3274641 h 5233159"/>
              <a:gd name="connsiteX0" fmla="*/ 269701 w 4595056"/>
              <a:gd name="connsiteY0" fmla="*/ 3274641 h 5233159"/>
              <a:gd name="connsiteX1" fmla="*/ 330871 w 4595056"/>
              <a:gd name="connsiteY1" fmla="*/ 2376520 h 5233159"/>
              <a:gd name="connsiteX2" fmla="*/ 766346 w 4595056"/>
              <a:gd name="connsiteY2" fmla="*/ 1530660 h 5233159"/>
              <a:gd name="connsiteX3" fmla="*/ 653159 w 4595056"/>
              <a:gd name="connsiteY3" fmla="*/ 571073 h 5233159"/>
              <a:gd name="connsiteX4" fmla="*/ 1005536 w 4595056"/>
              <a:gd name="connsiteY4" fmla="*/ 1448 h 5233159"/>
              <a:gd name="connsiteX5" fmla="*/ 1841946 w 4595056"/>
              <a:gd name="connsiteY5" fmla="*/ 791373 h 5233159"/>
              <a:gd name="connsiteX6" fmla="*/ 2547350 w 4595056"/>
              <a:gd name="connsiteY6" fmla="*/ 1326122 h 5233159"/>
              <a:gd name="connsiteX7" fmla="*/ 3445023 w 4595056"/>
              <a:gd name="connsiteY7" fmla="*/ 1693707 h 5233159"/>
              <a:gd name="connsiteX8" fmla="*/ 3741132 w 4595056"/>
              <a:gd name="connsiteY8" fmla="*/ 2197507 h 5233159"/>
              <a:gd name="connsiteX9" fmla="*/ 4013780 w 4595056"/>
              <a:gd name="connsiteY9" fmla="*/ 2741933 h 5233159"/>
              <a:gd name="connsiteX10" fmla="*/ 4592550 w 4595056"/>
              <a:gd name="connsiteY10" fmla="*/ 3509161 h 5233159"/>
              <a:gd name="connsiteX11" fmla="*/ 3838568 w 4595056"/>
              <a:gd name="connsiteY11" fmla="*/ 3494156 h 5233159"/>
              <a:gd name="connsiteX12" fmla="*/ 3201487 w 4595056"/>
              <a:gd name="connsiteY12" fmla="*/ 3299282 h 5233159"/>
              <a:gd name="connsiteX13" fmla="*/ 2685413 w 4595056"/>
              <a:gd name="connsiteY13" fmla="*/ 4041513 h 5233159"/>
              <a:gd name="connsiteX14" fmla="*/ 1723654 w 4595056"/>
              <a:gd name="connsiteY14" fmla="*/ 4957131 h 5233159"/>
              <a:gd name="connsiteX15" fmla="*/ 773298 w 4595056"/>
              <a:gd name="connsiteY15" fmla="*/ 5221718 h 5233159"/>
              <a:gd name="connsiteX16" fmla="*/ 0 w 4595056"/>
              <a:gd name="connsiteY16" fmla="*/ 4328065 h 5233159"/>
              <a:gd name="connsiteX17" fmla="*/ 269701 w 4595056"/>
              <a:gd name="connsiteY17" fmla="*/ 3274641 h 5233159"/>
              <a:gd name="connsiteX0" fmla="*/ 269701 w 4595056"/>
              <a:gd name="connsiteY0" fmla="*/ 3274641 h 5233159"/>
              <a:gd name="connsiteX1" fmla="*/ 143494 w 4595056"/>
              <a:gd name="connsiteY1" fmla="*/ 2376520 h 5233159"/>
              <a:gd name="connsiteX2" fmla="*/ 766346 w 4595056"/>
              <a:gd name="connsiteY2" fmla="*/ 1530660 h 5233159"/>
              <a:gd name="connsiteX3" fmla="*/ 653159 w 4595056"/>
              <a:gd name="connsiteY3" fmla="*/ 571073 h 5233159"/>
              <a:gd name="connsiteX4" fmla="*/ 1005536 w 4595056"/>
              <a:gd name="connsiteY4" fmla="*/ 1448 h 5233159"/>
              <a:gd name="connsiteX5" fmla="*/ 1841946 w 4595056"/>
              <a:gd name="connsiteY5" fmla="*/ 791373 h 5233159"/>
              <a:gd name="connsiteX6" fmla="*/ 2547350 w 4595056"/>
              <a:gd name="connsiteY6" fmla="*/ 1326122 h 5233159"/>
              <a:gd name="connsiteX7" fmla="*/ 3445023 w 4595056"/>
              <a:gd name="connsiteY7" fmla="*/ 1693707 h 5233159"/>
              <a:gd name="connsiteX8" fmla="*/ 3741132 w 4595056"/>
              <a:gd name="connsiteY8" fmla="*/ 2197507 h 5233159"/>
              <a:gd name="connsiteX9" fmla="*/ 4013780 w 4595056"/>
              <a:gd name="connsiteY9" fmla="*/ 2741933 h 5233159"/>
              <a:gd name="connsiteX10" fmla="*/ 4592550 w 4595056"/>
              <a:gd name="connsiteY10" fmla="*/ 3509161 h 5233159"/>
              <a:gd name="connsiteX11" fmla="*/ 3838568 w 4595056"/>
              <a:gd name="connsiteY11" fmla="*/ 3494156 h 5233159"/>
              <a:gd name="connsiteX12" fmla="*/ 3201487 w 4595056"/>
              <a:gd name="connsiteY12" fmla="*/ 3299282 h 5233159"/>
              <a:gd name="connsiteX13" fmla="*/ 2685413 w 4595056"/>
              <a:gd name="connsiteY13" fmla="*/ 4041513 h 5233159"/>
              <a:gd name="connsiteX14" fmla="*/ 1723654 w 4595056"/>
              <a:gd name="connsiteY14" fmla="*/ 4957131 h 5233159"/>
              <a:gd name="connsiteX15" fmla="*/ 773298 w 4595056"/>
              <a:gd name="connsiteY15" fmla="*/ 5221718 h 5233159"/>
              <a:gd name="connsiteX16" fmla="*/ 0 w 4595056"/>
              <a:gd name="connsiteY16" fmla="*/ 4328065 h 5233159"/>
              <a:gd name="connsiteX17" fmla="*/ 269701 w 4595056"/>
              <a:gd name="connsiteY17" fmla="*/ 3274641 h 5233159"/>
              <a:gd name="connsiteX0" fmla="*/ 269701 w 4595056"/>
              <a:gd name="connsiteY0" fmla="*/ 3274641 h 5233159"/>
              <a:gd name="connsiteX1" fmla="*/ 143494 w 4595056"/>
              <a:gd name="connsiteY1" fmla="*/ 2376520 h 5233159"/>
              <a:gd name="connsiteX2" fmla="*/ 766346 w 4595056"/>
              <a:gd name="connsiteY2" fmla="*/ 1530660 h 5233159"/>
              <a:gd name="connsiteX3" fmla="*/ 653159 w 4595056"/>
              <a:gd name="connsiteY3" fmla="*/ 571073 h 5233159"/>
              <a:gd name="connsiteX4" fmla="*/ 1005536 w 4595056"/>
              <a:gd name="connsiteY4" fmla="*/ 1448 h 5233159"/>
              <a:gd name="connsiteX5" fmla="*/ 1841946 w 4595056"/>
              <a:gd name="connsiteY5" fmla="*/ 791373 h 5233159"/>
              <a:gd name="connsiteX6" fmla="*/ 2547350 w 4595056"/>
              <a:gd name="connsiteY6" fmla="*/ 1326122 h 5233159"/>
              <a:gd name="connsiteX7" fmla="*/ 3445023 w 4595056"/>
              <a:gd name="connsiteY7" fmla="*/ 1693707 h 5233159"/>
              <a:gd name="connsiteX8" fmla="*/ 3741132 w 4595056"/>
              <a:gd name="connsiteY8" fmla="*/ 2197507 h 5233159"/>
              <a:gd name="connsiteX9" fmla="*/ 4013780 w 4595056"/>
              <a:gd name="connsiteY9" fmla="*/ 2741933 h 5233159"/>
              <a:gd name="connsiteX10" fmla="*/ 4592550 w 4595056"/>
              <a:gd name="connsiteY10" fmla="*/ 3509161 h 5233159"/>
              <a:gd name="connsiteX11" fmla="*/ 3838568 w 4595056"/>
              <a:gd name="connsiteY11" fmla="*/ 3494156 h 5233159"/>
              <a:gd name="connsiteX12" fmla="*/ 3201487 w 4595056"/>
              <a:gd name="connsiteY12" fmla="*/ 3299282 h 5233159"/>
              <a:gd name="connsiteX13" fmla="*/ 2685413 w 4595056"/>
              <a:gd name="connsiteY13" fmla="*/ 4041513 h 5233159"/>
              <a:gd name="connsiteX14" fmla="*/ 1723654 w 4595056"/>
              <a:gd name="connsiteY14" fmla="*/ 4957131 h 5233159"/>
              <a:gd name="connsiteX15" fmla="*/ 773298 w 4595056"/>
              <a:gd name="connsiteY15" fmla="*/ 5221718 h 5233159"/>
              <a:gd name="connsiteX16" fmla="*/ 0 w 4595056"/>
              <a:gd name="connsiteY16" fmla="*/ 4328065 h 5233159"/>
              <a:gd name="connsiteX17" fmla="*/ 269701 w 4595056"/>
              <a:gd name="connsiteY17" fmla="*/ 3274641 h 5233159"/>
              <a:gd name="connsiteX0" fmla="*/ 269701 w 4595056"/>
              <a:gd name="connsiteY0" fmla="*/ 3274641 h 5233159"/>
              <a:gd name="connsiteX1" fmla="*/ 143494 w 4595056"/>
              <a:gd name="connsiteY1" fmla="*/ 2376520 h 5233159"/>
              <a:gd name="connsiteX2" fmla="*/ 766346 w 4595056"/>
              <a:gd name="connsiteY2" fmla="*/ 1530660 h 5233159"/>
              <a:gd name="connsiteX3" fmla="*/ 653159 w 4595056"/>
              <a:gd name="connsiteY3" fmla="*/ 571073 h 5233159"/>
              <a:gd name="connsiteX4" fmla="*/ 1005536 w 4595056"/>
              <a:gd name="connsiteY4" fmla="*/ 1448 h 5233159"/>
              <a:gd name="connsiteX5" fmla="*/ 1841946 w 4595056"/>
              <a:gd name="connsiteY5" fmla="*/ 791373 h 5233159"/>
              <a:gd name="connsiteX6" fmla="*/ 2547350 w 4595056"/>
              <a:gd name="connsiteY6" fmla="*/ 1326122 h 5233159"/>
              <a:gd name="connsiteX7" fmla="*/ 3445023 w 4595056"/>
              <a:gd name="connsiteY7" fmla="*/ 1693707 h 5233159"/>
              <a:gd name="connsiteX8" fmla="*/ 3741132 w 4595056"/>
              <a:gd name="connsiteY8" fmla="*/ 2197507 h 5233159"/>
              <a:gd name="connsiteX9" fmla="*/ 4013780 w 4595056"/>
              <a:gd name="connsiteY9" fmla="*/ 2741933 h 5233159"/>
              <a:gd name="connsiteX10" fmla="*/ 4592550 w 4595056"/>
              <a:gd name="connsiteY10" fmla="*/ 3509161 h 5233159"/>
              <a:gd name="connsiteX11" fmla="*/ 3838568 w 4595056"/>
              <a:gd name="connsiteY11" fmla="*/ 3494156 h 5233159"/>
              <a:gd name="connsiteX12" fmla="*/ 3201487 w 4595056"/>
              <a:gd name="connsiteY12" fmla="*/ 3299282 h 5233159"/>
              <a:gd name="connsiteX13" fmla="*/ 2685413 w 4595056"/>
              <a:gd name="connsiteY13" fmla="*/ 4041513 h 5233159"/>
              <a:gd name="connsiteX14" fmla="*/ 1723654 w 4595056"/>
              <a:gd name="connsiteY14" fmla="*/ 4957131 h 5233159"/>
              <a:gd name="connsiteX15" fmla="*/ 773298 w 4595056"/>
              <a:gd name="connsiteY15" fmla="*/ 5221718 h 5233159"/>
              <a:gd name="connsiteX16" fmla="*/ 0 w 4595056"/>
              <a:gd name="connsiteY16" fmla="*/ 4328065 h 5233159"/>
              <a:gd name="connsiteX17" fmla="*/ 269701 w 4595056"/>
              <a:gd name="connsiteY17" fmla="*/ 3274641 h 5233159"/>
              <a:gd name="connsiteX0" fmla="*/ 269701 w 4595056"/>
              <a:gd name="connsiteY0" fmla="*/ 3274641 h 5233159"/>
              <a:gd name="connsiteX1" fmla="*/ 353356 w 4595056"/>
              <a:gd name="connsiteY1" fmla="*/ 2548907 h 5233159"/>
              <a:gd name="connsiteX2" fmla="*/ 766346 w 4595056"/>
              <a:gd name="connsiteY2" fmla="*/ 1530660 h 5233159"/>
              <a:gd name="connsiteX3" fmla="*/ 653159 w 4595056"/>
              <a:gd name="connsiteY3" fmla="*/ 571073 h 5233159"/>
              <a:gd name="connsiteX4" fmla="*/ 1005536 w 4595056"/>
              <a:gd name="connsiteY4" fmla="*/ 1448 h 5233159"/>
              <a:gd name="connsiteX5" fmla="*/ 1841946 w 4595056"/>
              <a:gd name="connsiteY5" fmla="*/ 791373 h 5233159"/>
              <a:gd name="connsiteX6" fmla="*/ 2547350 w 4595056"/>
              <a:gd name="connsiteY6" fmla="*/ 1326122 h 5233159"/>
              <a:gd name="connsiteX7" fmla="*/ 3445023 w 4595056"/>
              <a:gd name="connsiteY7" fmla="*/ 1693707 h 5233159"/>
              <a:gd name="connsiteX8" fmla="*/ 3741132 w 4595056"/>
              <a:gd name="connsiteY8" fmla="*/ 2197507 h 5233159"/>
              <a:gd name="connsiteX9" fmla="*/ 4013780 w 4595056"/>
              <a:gd name="connsiteY9" fmla="*/ 2741933 h 5233159"/>
              <a:gd name="connsiteX10" fmla="*/ 4592550 w 4595056"/>
              <a:gd name="connsiteY10" fmla="*/ 3509161 h 5233159"/>
              <a:gd name="connsiteX11" fmla="*/ 3838568 w 4595056"/>
              <a:gd name="connsiteY11" fmla="*/ 3494156 h 5233159"/>
              <a:gd name="connsiteX12" fmla="*/ 3201487 w 4595056"/>
              <a:gd name="connsiteY12" fmla="*/ 3299282 h 5233159"/>
              <a:gd name="connsiteX13" fmla="*/ 2685413 w 4595056"/>
              <a:gd name="connsiteY13" fmla="*/ 4041513 h 5233159"/>
              <a:gd name="connsiteX14" fmla="*/ 1723654 w 4595056"/>
              <a:gd name="connsiteY14" fmla="*/ 4957131 h 5233159"/>
              <a:gd name="connsiteX15" fmla="*/ 773298 w 4595056"/>
              <a:gd name="connsiteY15" fmla="*/ 5221718 h 5233159"/>
              <a:gd name="connsiteX16" fmla="*/ 0 w 4595056"/>
              <a:gd name="connsiteY16" fmla="*/ 4328065 h 5233159"/>
              <a:gd name="connsiteX17" fmla="*/ 269701 w 4595056"/>
              <a:gd name="connsiteY17" fmla="*/ 3274641 h 5233159"/>
              <a:gd name="connsiteX0" fmla="*/ 269701 w 4595056"/>
              <a:gd name="connsiteY0" fmla="*/ 3274641 h 5233159"/>
              <a:gd name="connsiteX1" fmla="*/ 121008 w 4595056"/>
              <a:gd name="connsiteY1" fmla="*/ 2391511 h 5233159"/>
              <a:gd name="connsiteX2" fmla="*/ 766346 w 4595056"/>
              <a:gd name="connsiteY2" fmla="*/ 1530660 h 5233159"/>
              <a:gd name="connsiteX3" fmla="*/ 653159 w 4595056"/>
              <a:gd name="connsiteY3" fmla="*/ 571073 h 5233159"/>
              <a:gd name="connsiteX4" fmla="*/ 1005536 w 4595056"/>
              <a:gd name="connsiteY4" fmla="*/ 1448 h 5233159"/>
              <a:gd name="connsiteX5" fmla="*/ 1841946 w 4595056"/>
              <a:gd name="connsiteY5" fmla="*/ 791373 h 5233159"/>
              <a:gd name="connsiteX6" fmla="*/ 2547350 w 4595056"/>
              <a:gd name="connsiteY6" fmla="*/ 1326122 h 5233159"/>
              <a:gd name="connsiteX7" fmla="*/ 3445023 w 4595056"/>
              <a:gd name="connsiteY7" fmla="*/ 1693707 h 5233159"/>
              <a:gd name="connsiteX8" fmla="*/ 3741132 w 4595056"/>
              <a:gd name="connsiteY8" fmla="*/ 2197507 h 5233159"/>
              <a:gd name="connsiteX9" fmla="*/ 4013780 w 4595056"/>
              <a:gd name="connsiteY9" fmla="*/ 2741933 h 5233159"/>
              <a:gd name="connsiteX10" fmla="*/ 4592550 w 4595056"/>
              <a:gd name="connsiteY10" fmla="*/ 3509161 h 5233159"/>
              <a:gd name="connsiteX11" fmla="*/ 3838568 w 4595056"/>
              <a:gd name="connsiteY11" fmla="*/ 3494156 h 5233159"/>
              <a:gd name="connsiteX12" fmla="*/ 3201487 w 4595056"/>
              <a:gd name="connsiteY12" fmla="*/ 3299282 h 5233159"/>
              <a:gd name="connsiteX13" fmla="*/ 2685413 w 4595056"/>
              <a:gd name="connsiteY13" fmla="*/ 4041513 h 5233159"/>
              <a:gd name="connsiteX14" fmla="*/ 1723654 w 4595056"/>
              <a:gd name="connsiteY14" fmla="*/ 4957131 h 5233159"/>
              <a:gd name="connsiteX15" fmla="*/ 773298 w 4595056"/>
              <a:gd name="connsiteY15" fmla="*/ 5221718 h 5233159"/>
              <a:gd name="connsiteX16" fmla="*/ 0 w 4595056"/>
              <a:gd name="connsiteY16" fmla="*/ 4328065 h 5233159"/>
              <a:gd name="connsiteX17" fmla="*/ 269701 w 4595056"/>
              <a:gd name="connsiteY17" fmla="*/ 3274641 h 5233159"/>
              <a:gd name="connsiteX0" fmla="*/ 427098 w 4595056"/>
              <a:gd name="connsiteY0" fmla="*/ 3289631 h 5233159"/>
              <a:gd name="connsiteX1" fmla="*/ 121008 w 4595056"/>
              <a:gd name="connsiteY1" fmla="*/ 2391511 h 5233159"/>
              <a:gd name="connsiteX2" fmla="*/ 766346 w 4595056"/>
              <a:gd name="connsiteY2" fmla="*/ 1530660 h 5233159"/>
              <a:gd name="connsiteX3" fmla="*/ 653159 w 4595056"/>
              <a:gd name="connsiteY3" fmla="*/ 571073 h 5233159"/>
              <a:gd name="connsiteX4" fmla="*/ 1005536 w 4595056"/>
              <a:gd name="connsiteY4" fmla="*/ 1448 h 5233159"/>
              <a:gd name="connsiteX5" fmla="*/ 1841946 w 4595056"/>
              <a:gd name="connsiteY5" fmla="*/ 791373 h 5233159"/>
              <a:gd name="connsiteX6" fmla="*/ 2547350 w 4595056"/>
              <a:gd name="connsiteY6" fmla="*/ 1326122 h 5233159"/>
              <a:gd name="connsiteX7" fmla="*/ 3445023 w 4595056"/>
              <a:gd name="connsiteY7" fmla="*/ 1693707 h 5233159"/>
              <a:gd name="connsiteX8" fmla="*/ 3741132 w 4595056"/>
              <a:gd name="connsiteY8" fmla="*/ 2197507 h 5233159"/>
              <a:gd name="connsiteX9" fmla="*/ 4013780 w 4595056"/>
              <a:gd name="connsiteY9" fmla="*/ 2741933 h 5233159"/>
              <a:gd name="connsiteX10" fmla="*/ 4592550 w 4595056"/>
              <a:gd name="connsiteY10" fmla="*/ 3509161 h 5233159"/>
              <a:gd name="connsiteX11" fmla="*/ 3838568 w 4595056"/>
              <a:gd name="connsiteY11" fmla="*/ 3494156 h 5233159"/>
              <a:gd name="connsiteX12" fmla="*/ 3201487 w 4595056"/>
              <a:gd name="connsiteY12" fmla="*/ 3299282 h 5233159"/>
              <a:gd name="connsiteX13" fmla="*/ 2685413 w 4595056"/>
              <a:gd name="connsiteY13" fmla="*/ 4041513 h 5233159"/>
              <a:gd name="connsiteX14" fmla="*/ 1723654 w 4595056"/>
              <a:gd name="connsiteY14" fmla="*/ 4957131 h 5233159"/>
              <a:gd name="connsiteX15" fmla="*/ 773298 w 4595056"/>
              <a:gd name="connsiteY15" fmla="*/ 5221718 h 5233159"/>
              <a:gd name="connsiteX16" fmla="*/ 0 w 4595056"/>
              <a:gd name="connsiteY16" fmla="*/ 4328065 h 5233159"/>
              <a:gd name="connsiteX17" fmla="*/ 427098 w 4595056"/>
              <a:gd name="connsiteY17" fmla="*/ 3289631 h 5233159"/>
              <a:gd name="connsiteX0" fmla="*/ 269701 w 4595056"/>
              <a:gd name="connsiteY0" fmla="*/ 3327107 h 5233159"/>
              <a:gd name="connsiteX1" fmla="*/ 121008 w 4595056"/>
              <a:gd name="connsiteY1" fmla="*/ 2391511 h 5233159"/>
              <a:gd name="connsiteX2" fmla="*/ 766346 w 4595056"/>
              <a:gd name="connsiteY2" fmla="*/ 1530660 h 5233159"/>
              <a:gd name="connsiteX3" fmla="*/ 653159 w 4595056"/>
              <a:gd name="connsiteY3" fmla="*/ 571073 h 5233159"/>
              <a:gd name="connsiteX4" fmla="*/ 1005536 w 4595056"/>
              <a:gd name="connsiteY4" fmla="*/ 1448 h 5233159"/>
              <a:gd name="connsiteX5" fmla="*/ 1841946 w 4595056"/>
              <a:gd name="connsiteY5" fmla="*/ 791373 h 5233159"/>
              <a:gd name="connsiteX6" fmla="*/ 2547350 w 4595056"/>
              <a:gd name="connsiteY6" fmla="*/ 1326122 h 5233159"/>
              <a:gd name="connsiteX7" fmla="*/ 3445023 w 4595056"/>
              <a:gd name="connsiteY7" fmla="*/ 1693707 h 5233159"/>
              <a:gd name="connsiteX8" fmla="*/ 3741132 w 4595056"/>
              <a:gd name="connsiteY8" fmla="*/ 2197507 h 5233159"/>
              <a:gd name="connsiteX9" fmla="*/ 4013780 w 4595056"/>
              <a:gd name="connsiteY9" fmla="*/ 2741933 h 5233159"/>
              <a:gd name="connsiteX10" fmla="*/ 4592550 w 4595056"/>
              <a:gd name="connsiteY10" fmla="*/ 3509161 h 5233159"/>
              <a:gd name="connsiteX11" fmla="*/ 3838568 w 4595056"/>
              <a:gd name="connsiteY11" fmla="*/ 3494156 h 5233159"/>
              <a:gd name="connsiteX12" fmla="*/ 3201487 w 4595056"/>
              <a:gd name="connsiteY12" fmla="*/ 3299282 h 5233159"/>
              <a:gd name="connsiteX13" fmla="*/ 2685413 w 4595056"/>
              <a:gd name="connsiteY13" fmla="*/ 4041513 h 5233159"/>
              <a:gd name="connsiteX14" fmla="*/ 1723654 w 4595056"/>
              <a:gd name="connsiteY14" fmla="*/ 4957131 h 5233159"/>
              <a:gd name="connsiteX15" fmla="*/ 773298 w 4595056"/>
              <a:gd name="connsiteY15" fmla="*/ 5221718 h 5233159"/>
              <a:gd name="connsiteX16" fmla="*/ 0 w 4595056"/>
              <a:gd name="connsiteY16" fmla="*/ 4328065 h 5233159"/>
              <a:gd name="connsiteX17" fmla="*/ 269701 w 4595056"/>
              <a:gd name="connsiteY17" fmla="*/ 3327107 h 5233159"/>
              <a:gd name="connsiteX0" fmla="*/ 269701 w 4635191"/>
              <a:gd name="connsiteY0" fmla="*/ 3327107 h 5233159"/>
              <a:gd name="connsiteX1" fmla="*/ 121008 w 4635191"/>
              <a:gd name="connsiteY1" fmla="*/ 2391511 h 5233159"/>
              <a:gd name="connsiteX2" fmla="*/ 766346 w 4635191"/>
              <a:gd name="connsiteY2" fmla="*/ 1530660 h 5233159"/>
              <a:gd name="connsiteX3" fmla="*/ 653159 w 4635191"/>
              <a:gd name="connsiteY3" fmla="*/ 571073 h 5233159"/>
              <a:gd name="connsiteX4" fmla="*/ 1005536 w 4635191"/>
              <a:gd name="connsiteY4" fmla="*/ 1448 h 5233159"/>
              <a:gd name="connsiteX5" fmla="*/ 1841946 w 4635191"/>
              <a:gd name="connsiteY5" fmla="*/ 791373 h 5233159"/>
              <a:gd name="connsiteX6" fmla="*/ 2547350 w 4635191"/>
              <a:gd name="connsiteY6" fmla="*/ 1326122 h 5233159"/>
              <a:gd name="connsiteX7" fmla="*/ 3445023 w 4635191"/>
              <a:gd name="connsiteY7" fmla="*/ 1693707 h 5233159"/>
              <a:gd name="connsiteX8" fmla="*/ 3741132 w 4635191"/>
              <a:gd name="connsiteY8" fmla="*/ 2197507 h 5233159"/>
              <a:gd name="connsiteX9" fmla="*/ 4013780 w 4635191"/>
              <a:gd name="connsiteY9" fmla="*/ 2741933 h 5233159"/>
              <a:gd name="connsiteX10" fmla="*/ 4484863 w 4635191"/>
              <a:gd name="connsiteY10" fmla="*/ 3224594 h 5233159"/>
              <a:gd name="connsiteX11" fmla="*/ 4592550 w 4635191"/>
              <a:gd name="connsiteY11" fmla="*/ 3509161 h 5233159"/>
              <a:gd name="connsiteX12" fmla="*/ 3838568 w 4635191"/>
              <a:gd name="connsiteY12" fmla="*/ 3494156 h 5233159"/>
              <a:gd name="connsiteX13" fmla="*/ 3201487 w 4635191"/>
              <a:gd name="connsiteY13" fmla="*/ 3299282 h 5233159"/>
              <a:gd name="connsiteX14" fmla="*/ 2685413 w 4635191"/>
              <a:gd name="connsiteY14" fmla="*/ 4041513 h 5233159"/>
              <a:gd name="connsiteX15" fmla="*/ 1723654 w 4635191"/>
              <a:gd name="connsiteY15" fmla="*/ 4957131 h 5233159"/>
              <a:gd name="connsiteX16" fmla="*/ 773298 w 4635191"/>
              <a:gd name="connsiteY16" fmla="*/ 5221718 h 5233159"/>
              <a:gd name="connsiteX17" fmla="*/ 0 w 4635191"/>
              <a:gd name="connsiteY17" fmla="*/ 4328065 h 5233159"/>
              <a:gd name="connsiteX18" fmla="*/ 269701 w 4635191"/>
              <a:gd name="connsiteY18" fmla="*/ 3327107 h 5233159"/>
              <a:gd name="connsiteX0" fmla="*/ 269701 w 4596233"/>
              <a:gd name="connsiteY0" fmla="*/ 3327107 h 5233159"/>
              <a:gd name="connsiteX1" fmla="*/ 121008 w 4596233"/>
              <a:gd name="connsiteY1" fmla="*/ 2391511 h 5233159"/>
              <a:gd name="connsiteX2" fmla="*/ 766346 w 4596233"/>
              <a:gd name="connsiteY2" fmla="*/ 1530660 h 5233159"/>
              <a:gd name="connsiteX3" fmla="*/ 653159 w 4596233"/>
              <a:gd name="connsiteY3" fmla="*/ 571073 h 5233159"/>
              <a:gd name="connsiteX4" fmla="*/ 1005536 w 4596233"/>
              <a:gd name="connsiteY4" fmla="*/ 1448 h 5233159"/>
              <a:gd name="connsiteX5" fmla="*/ 1841946 w 4596233"/>
              <a:gd name="connsiteY5" fmla="*/ 791373 h 5233159"/>
              <a:gd name="connsiteX6" fmla="*/ 2547350 w 4596233"/>
              <a:gd name="connsiteY6" fmla="*/ 1326122 h 5233159"/>
              <a:gd name="connsiteX7" fmla="*/ 3445023 w 4596233"/>
              <a:gd name="connsiteY7" fmla="*/ 1693707 h 5233159"/>
              <a:gd name="connsiteX8" fmla="*/ 3741132 w 4596233"/>
              <a:gd name="connsiteY8" fmla="*/ 2197507 h 5233159"/>
              <a:gd name="connsiteX9" fmla="*/ 4013780 w 4596233"/>
              <a:gd name="connsiteY9" fmla="*/ 2741933 h 5233159"/>
              <a:gd name="connsiteX10" fmla="*/ 4484863 w 4596233"/>
              <a:gd name="connsiteY10" fmla="*/ 3224594 h 5233159"/>
              <a:gd name="connsiteX11" fmla="*/ 4592550 w 4596233"/>
              <a:gd name="connsiteY11" fmla="*/ 3509161 h 5233159"/>
              <a:gd name="connsiteX12" fmla="*/ 4399138 w 4596233"/>
              <a:gd name="connsiteY12" fmla="*/ 3551619 h 5233159"/>
              <a:gd name="connsiteX13" fmla="*/ 3838568 w 4596233"/>
              <a:gd name="connsiteY13" fmla="*/ 3494156 h 5233159"/>
              <a:gd name="connsiteX14" fmla="*/ 3201487 w 4596233"/>
              <a:gd name="connsiteY14" fmla="*/ 3299282 h 5233159"/>
              <a:gd name="connsiteX15" fmla="*/ 2685413 w 4596233"/>
              <a:gd name="connsiteY15" fmla="*/ 4041513 h 5233159"/>
              <a:gd name="connsiteX16" fmla="*/ 1723654 w 4596233"/>
              <a:gd name="connsiteY16" fmla="*/ 4957131 h 5233159"/>
              <a:gd name="connsiteX17" fmla="*/ 773298 w 4596233"/>
              <a:gd name="connsiteY17" fmla="*/ 5221718 h 5233159"/>
              <a:gd name="connsiteX18" fmla="*/ 0 w 4596233"/>
              <a:gd name="connsiteY18" fmla="*/ 4328065 h 5233159"/>
              <a:gd name="connsiteX19" fmla="*/ 269701 w 4596233"/>
              <a:gd name="connsiteY19" fmla="*/ 3327107 h 5233159"/>
              <a:gd name="connsiteX0" fmla="*/ 269701 w 4566547"/>
              <a:gd name="connsiteY0" fmla="*/ 3327107 h 5233159"/>
              <a:gd name="connsiteX1" fmla="*/ 121008 w 4566547"/>
              <a:gd name="connsiteY1" fmla="*/ 2391511 h 5233159"/>
              <a:gd name="connsiteX2" fmla="*/ 766346 w 4566547"/>
              <a:gd name="connsiteY2" fmla="*/ 1530660 h 5233159"/>
              <a:gd name="connsiteX3" fmla="*/ 653159 w 4566547"/>
              <a:gd name="connsiteY3" fmla="*/ 571073 h 5233159"/>
              <a:gd name="connsiteX4" fmla="*/ 1005536 w 4566547"/>
              <a:gd name="connsiteY4" fmla="*/ 1448 h 5233159"/>
              <a:gd name="connsiteX5" fmla="*/ 1841946 w 4566547"/>
              <a:gd name="connsiteY5" fmla="*/ 791373 h 5233159"/>
              <a:gd name="connsiteX6" fmla="*/ 2547350 w 4566547"/>
              <a:gd name="connsiteY6" fmla="*/ 1326122 h 5233159"/>
              <a:gd name="connsiteX7" fmla="*/ 3445023 w 4566547"/>
              <a:gd name="connsiteY7" fmla="*/ 1693707 h 5233159"/>
              <a:gd name="connsiteX8" fmla="*/ 3741132 w 4566547"/>
              <a:gd name="connsiteY8" fmla="*/ 2197507 h 5233159"/>
              <a:gd name="connsiteX9" fmla="*/ 4013780 w 4566547"/>
              <a:gd name="connsiteY9" fmla="*/ 2741933 h 5233159"/>
              <a:gd name="connsiteX10" fmla="*/ 4484863 w 4566547"/>
              <a:gd name="connsiteY10" fmla="*/ 3224594 h 5233159"/>
              <a:gd name="connsiteX11" fmla="*/ 4557625 w 4566547"/>
              <a:gd name="connsiteY11" fmla="*/ 3474236 h 5233159"/>
              <a:gd name="connsiteX12" fmla="*/ 4399138 w 4566547"/>
              <a:gd name="connsiteY12" fmla="*/ 3551619 h 5233159"/>
              <a:gd name="connsiteX13" fmla="*/ 3838568 w 4566547"/>
              <a:gd name="connsiteY13" fmla="*/ 3494156 h 5233159"/>
              <a:gd name="connsiteX14" fmla="*/ 3201487 w 4566547"/>
              <a:gd name="connsiteY14" fmla="*/ 3299282 h 5233159"/>
              <a:gd name="connsiteX15" fmla="*/ 2685413 w 4566547"/>
              <a:gd name="connsiteY15" fmla="*/ 4041513 h 5233159"/>
              <a:gd name="connsiteX16" fmla="*/ 1723654 w 4566547"/>
              <a:gd name="connsiteY16" fmla="*/ 4957131 h 5233159"/>
              <a:gd name="connsiteX17" fmla="*/ 773298 w 4566547"/>
              <a:gd name="connsiteY17" fmla="*/ 5221718 h 5233159"/>
              <a:gd name="connsiteX18" fmla="*/ 0 w 4566547"/>
              <a:gd name="connsiteY18" fmla="*/ 4328065 h 5233159"/>
              <a:gd name="connsiteX19" fmla="*/ 269701 w 4566547"/>
              <a:gd name="connsiteY19" fmla="*/ 3327107 h 5233159"/>
              <a:gd name="connsiteX0" fmla="*/ 269701 w 4566547"/>
              <a:gd name="connsiteY0" fmla="*/ 3327107 h 5233159"/>
              <a:gd name="connsiteX1" fmla="*/ 121008 w 4566547"/>
              <a:gd name="connsiteY1" fmla="*/ 2391511 h 5233159"/>
              <a:gd name="connsiteX2" fmla="*/ 766346 w 4566547"/>
              <a:gd name="connsiteY2" fmla="*/ 1530660 h 5233159"/>
              <a:gd name="connsiteX3" fmla="*/ 653159 w 4566547"/>
              <a:gd name="connsiteY3" fmla="*/ 571073 h 5233159"/>
              <a:gd name="connsiteX4" fmla="*/ 1005536 w 4566547"/>
              <a:gd name="connsiteY4" fmla="*/ 1448 h 5233159"/>
              <a:gd name="connsiteX5" fmla="*/ 1841946 w 4566547"/>
              <a:gd name="connsiteY5" fmla="*/ 791373 h 5233159"/>
              <a:gd name="connsiteX6" fmla="*/ 2547350 w 4566547"/>
              <a:gd name="connsiteY6" fmla="*/ 1326122 h 5233159"/>
              <a:gd name="connsiteX7" fmla="*/ 3445023 w 4566547"/>
              <a:gd name="connsiteY7" fmla="*/ 1693707 h 5233159"/>
              <a:gd name="connsiteX8" fmla="*/ 3741132 w 4566547"/>
              <a:gd name="connsiteY8" fmla="*/ 2197507 h 5233159"/>
              <a:gd name="connsiteX9" fmla="*/ 4013780 w 4566547"/>
              <a:gd name="connsiteY9" fmla="*/ 2741933 h 5233159"/>
              <a:gd name="connsiteX10" fmla="*/ 4484863 w 4566547"/>
              <a:gd name="connsiteY10" fmla="*/ 3224594 h 5233159"/>
              <a:gd name="connsiteX11" fmla="*/ 4557625 w 4566547"/>
              <a:gd name="connsiteY11" fmla="*/ 3474236 h 5233159"/>
              <a:gd name="connsiteX12" fmla="*/ 4399138 w 4566547"/>
              <a:gd name="connsiteY12" fmla="*/ 3551619 h 5233159"/>
              <a:gd name="connsiteX13" fmla="*/ 3838568 w 4566547"/>
              <a:gd name="connsiteY13" fmla="*/ 3494156 h 5233159"/>
              <a:gd name="connsiteX14" fmla="*/ 3201487 w 4566547"/>
              <a:gd name="connsiteY14" fmla="*/ 3299282 h 5233159"/>
              <a:gd name="connsiteX15" fmla="*/ 2685413 w 4566547"/>
              <a:gd name="connsiteY15" fmla="*/ 4041513 h 5233159"/>
              <a:gd name="connsiteX16" fmla="*/ 1723654 w 4566547"/>
              <a:gd name="connsiteY16" fmla="*/ 4957131 h 5233159"/>
              <a:gd name="connsiteX17" fmla="*/ 773298 w 4566547"/>
              <a:gd name="connsiteY17" fmla="*/ 5221718 h 5233159"/>
              <a:gd name="connsiteX18" fmla="*/ 0 w 4566547"/>
              <a:gd name="connsiteY18" fmla="*/ 4328065 h 5233159"/>
              <a:gd name="connsiteX19" fmla="*/ 269701 w 4566547"/>
              <a:gd name="connsiteY19" fmla="*/ 3327107 h 5233159"/>
              <a:gd name="connsiteX0" fmla="*/ 269701 w 4558319"/>
              <a:gd name="connsiteY0" fmla="*/ 3327107 h 5233159"/>
              <a:gd name="connsiteX1" fmla="*/ 121008 w 4558319"/>
              <a:gd name="connsiteY1" fmla="*/ 2391511 h 5233159"/>
              <a:gd name="connsiteX2" fmla="*/ 766346 w 4558319"/>
              <a:gd name="connsiteY2" fmla="*/ 1530660 h 5233159"/>
              <a:gd name="connsiteX3" fmla="*/ 653159 w 4558319"/>
              <a:gd name="connsiteY3" fmla="*/ 571073 h 5233159"/>
              <a:gd name="connsiteX4" fmla="*/ 1005536 w 4558319"/>
              <a:gd name="connsiteY4" fmla="*/ 1448 h 5233159"/>
              <a:gd name="connsiteX5" fmla="*/ 1841946 w 4558319"/>
              <a:gd name="connsiteY5" fmla="*/ 791373 h 5233159"/>
              <a:gd name="connsiteX6" fmla="*/ 2547350 w 4558319"/>
              <a:gd name="connsiteY6" fmla="*/ 1326122 h 5233159"/>
              <a:gd name="connsiteX7" fmla="*/ 3445023 w 4558319"/>
              <a:gd name="connsiteY7" fmla="*/ 1693707 h 5233159"/>
              <a:gd name="connsiteX8" fmla="*/ 3741132 w 4558319"/>
              <a:gd name="connsiteY8" fmla="*/ 2197507 h 5233159"/>
              <a:gd name="connsiteX9" fmla="*/ 4013780 w 4558319"/>
              <a:gd name="connsiteY9" fmla="*/ 2741933 h 5233159"/>
              <a:gd name="connsiteX10" fmla="*/ 4265788 w 4558319"/>
              <a:gd name="connsiteY10" fmla="*/ 3243644 h 5233159"/>
              <a:gd name="connsiteX11" fmla="*/ 4557625 w 4558319"/>
              <a:gd name="connsiteY11" fmla="*/ 3474236 h 5233159"/>
              <a:gd name="connsiteX12" fmla="*/ 4399138 w 4558319"/>
              <a:gd name="connsiteY12" fmla="*/ 3551619 h 5233159"/>
              <a:gd name="connsiteX13" fmla="*/ 3838568 w 4558319"/>
              <a:gd name="connsiteY13" fmla="*/ 3494156 h 5233159"/>
              <a:gd name="connsiteX14" fmla="*/ 3201487 w 4558319"/>
              <a:gd name="connsiteY14" fmla="*/ 3299282 h 5233159"/>
              <a:gd name="connsiteX15" fmla="*/ 2685413 w 4558319"/>
              <a:gd name="connsiteY15" fmla="*/ 4041513 h 5233159"/>
              <a:gd name="connsiteX16" fmla="*/ 1723654 w 4558319"/>
              <a:gd name="connsiteY16" fmla="*/ 4957131 h 5233159"/>
              <a:gd name="connsiteX17" fmla="*/ 773298 w 4558319"/>
              <a:gd name="connsiteY17" fmla="*/ 5221718 h 5233159"/>
              <a:gd name="connsiteX18" fmla="*/ 0 w 4558319"/>
              <a:gd name="connsiteY18" fmla="*/ 4328065 h 5233159"/>
              <a:gd name="connsiteX19" fmla="*/ 269701 w 4558319"/>
              <a:gd name="connsiteY19" fmla="*/ 3327107 h 5233159"/>
              <a:gd name="connsiteX0" fmla="*/ 269701 w 4563876"/>
              <a:gd name="connsiteY0" fmla="*/ 3327107 h 5233159"/>
              <a:gd name="connsiteX1" fmla="*/ 121008 w 4563876"/>
              <a:gd name="connsiteY1" fmla="*/ 2391511 h 5233159"/>
              <a:gd name="connsiteX2" fmla="*/ 766346 w 4563876"/>
              <a:gd name="connsiteY2" fmla="*/ 1530660 h 5233159"/>
              <a:gd name="connsiteX3" fmla="*/ 653159 w 4563876"/>
              <a:gd name="connsiteY3" fmla="*/ 571073 h 5233159"/>
              <a:gd name="connsiteX4" fmla="*/ 1005536 w 4563876"/>
              <a:gd name="connsiteY4" fmla="*/ 1448 h 5233159"/>
              <a:gd name="connsiteX5" fmla="*/ 1841946 w 4563876"/>
              <a:gd name="connsiteY5" fmla="*/ 791373 h 5233159"/>
              <a:gd name="connsiteX6" fmla="*/ 2547350 w 4563876"/>
              <a:gd name="connsiteY6" fmla="*/ 1326122 h 5233159"/>
              <a:gd name="connsiteX7" fmla="*/ 3445023 w 4563876"/>
              <a:gd name="connsiteY7" fmla="*/ 1693707 h 5233159"/>
              <a:gd name="connsiteX8" fmla="*/ 3741132 w 4563876"/>
              <a:gd name="connsiteY8" fmla="*/ 2197507 h 5233159"/>
              <a:gd name="connsiteX9" fmla="*/ 4013780 w 4563876"/>
              <a:gd name="connsiteY9" fmla="*/ 2741933 h 5233159"/>
              <a:gd name="connsiteX10" fmla="*/ 4472163 w 4563876"/>
              <a:gd name="connsiteY10" fmla="*/ 3189669 h 5233159"/>
              <a:gd name="connsiteX11" fmla="*/ 4557625 w 4563876"/>
              <a:gd name="connsiteY11" fmla="*/ 3474236 h 5233159"/>
              <a:gd name="connsiteX12" fmla="*/ 4399138 w 4563876"/>
              <a:gd name="connsiteY12" fmla="*/ 3551619 h 5233159"/>
              <a:gd name="connsiteX13" fmla="*/ 3838568 w 4563876"/>
              <a:gd name="connsiteY13" fmla="*/ 3494156 h 5233159"/>
              <a:gd name="connsiteX14" fmla="*/ 3201487 w 4563876"/>
              <a:gd name="connsiteY14" fmla="*/ 3299282 h 5233159"/>
              <a:gd name="connsiteX15" fmla="*/ 2685413 w 4563876"/>
              <a:gd name="connsiteY15" fmla="*/ 4041513 h 5233159"/>
              <a:gd name="connsiteX16" fmla="*/ 1723654 w 4563876"/>
              <a:gd name="connsiteY16" fmla="*/ 4957131 h 5233159"/>
              <a:gd name="connsiteX17" fmla="*/ 773298 w 4563876"/>
              <a:gd name="connsiteY17" fmla="*/ 5221718 h 5233159"/>
              <a:gd name="connsiteX18" fmla="*/ 0 w 4563876"/>
              <a:gd name="connsiteY18" fmla="*/ 4328065 h 5233159"/>
              <a:gd name="connsiteX19" fmla="*/ 269701 w 4563876"/>
              <a:gd name="connsiteY19" fmla="*/ 3327107 h 5233159"/>
              <a:gd name="connsiteX0" fmla="*/ 269701 w 4563876"/>
              <a:gd name="connsiteY0" fmla="*/ 3327107 h 5233159"/>
              <a:gd name="connsiteX1" fmla="*/ 121008 w 4563876"/>
              <a:gd name="connsiteY1" fmla="*/ 2391511 h 5233159"/>
              <a:gd name="connsiteX2" fmla="*/ 766346 w 4563876"/>
              <a:gd name="connsiteY2" fmla="*/ 1530660 h 5233159"/>
              <a:gd name="connsiteX3" fmla="*/ 653159 w 4563876"/>
              <a:gd name="connsiteY3" fmla="*/ 571073 h 5233159"/>
              <a:gd name="connsiteX4" fmla="*/ 1005536 w 4563876"/>
              <a:gd name="connsiteY4" fmla="*/ 1448 h 5233159"/>
              <a:gd name="connsiteX5" fmla="*/ 1841946 w 4563876"/>
              <a:gd name="connsiteY5" fmla="*/ 791373 h 5233159"/>
              <a:gd name="connsiteX6" fmla="*/ 2547350 w 4563876"/>
              <a:gd name="connsiteY6" fmla="*/ 1326122 h 5233159"/>
              <a:gd name="connsiteX7" fmla="*/ 3445023 w 4563876"/>
              <a:gd name="connsiteY7" fmla="*/ 1693707 h 5233159"/>
              <a:gd name="connsiteX8" fmla="*/ 3741132 w 4563876"/>
              <a:gd name="connsiteY8" fmla="*/ 2197507 h 5233159"/>
              <a:gd name="connsiteX9" fmla="*/ 4013780 w 4563876"/>
              <a:gd name="connsiteY9" fmla="*/ 2741933 h 5233159"/>
              <a:gd name="connsiteX10" fmla="*/ 4472163 w 4563876"/>
              <a:gd name="connsiteY10" fmla="*/ 3189669 h 5233159"/>
              <a:gd name="connsiteX11" fmla="*/ 4557625 w 4563876"/>
              <a:gd name="connsiteY11" fmla="*/ 3474236 h 5233159"/>
              <a:gd name="connsiteX12" fmla="*/ 4399138 w 4563876"/>
              <a:gd name="connsiteY12" fmla="*/ 3551619 h 5233159"/>
              <a:gd name="connsiteX13" fmla="*/ 3838568 w 4563876"/>
              <a:gd name="connsiteY13" fmla="*/ 3494156 h 5233159"/>
              <a:gd name="connsiteX14" fmla="*/ 3201487 w 4563876"/>
              <a:gd name="connsiteY14" fmla="*/ 3299282 h 5233159"/>
              <a:gd name="connsiteX15" fmla="*/ 2685413 w 4563876"/>
              <a:gd name="connsiteY15" fmla="*/ 4041513 h 5233159"/>
              <a:gd name="connsiteX16" fmla="*/ 1723654 w 4563876"/>
              <a:gd name="connsiteY16" fmla="*/ 4957131 h 5233159"/>
              <a:gd name="connsiteX17" fmla="*/ 773298 w 4563876"/>
              <a:gd name="connsiteY17" fmla="*/ 5221718 h 5233159"/>
              <a:gd name="connsiteX18" fmla="*/ 0 w 4563876"/>
              <a:gd name="connsiteY18" fmla="*/ 4328065 h 5233159"/>
              <a:gd name="connsiteX19" fmla="*/ 269701 w 4563876"/>
              <a:gd name="connsiteY19" fmla="*/ 3327107 h 5233159"/>
              <a:gd name="connsiteX0" fmla="*/ 269701 w 4563876"/>
              <a:gd name="connsiteY0" fmla="*/ 3327107 h 5233159"/>
              <a:gd name="connsiteX1" fmla="*/ 121008 w 4563876"/>
              <a:gd name="connsiteY1" fmla="*/ 2391511 h 5233159"/>
              <a:gd name="connsiteX2" fmla="*/ 766346 w 4563876"/>
              <a:gd name="connsiteY2" fmla="*/ 1530660 h 5233159"/>
              <a:gd name="connsiteX3" fmla="*/ 653159 w 4563876"/>
              <a:gd name="connsiteY3" fmla="*/ 571073 h 5233159"/>
              <a:gd name="connsiteX4" fmla="*/ 1005536 w 4563876"/>
              <a:gd name="connsiteY4" fmla="*/ 1448 h 5233159"/>
              <a:gd name="connsiteX5" fmla="*/ 1841946 w 4563876"/>
              <a:gd name="connsiteY5" fmla="*/ 791373 h 5233159"/>
              <a:gd name="connsiteX6" fmla="*/ 2547350 w 4563876"/>
              <a:gd name="connsiteY6" fmla="*/ 1326122 h 5233159"/>
              <a:gd name="connsiteX7" fmla="*/ 3445023 w 4563876"/>
              <a:gd name="connsiteY7" fmla="*/ 1693707 h 5233159"/>
              <a:gd name="connsiteX8" fmla="*/ 3741132 w 4563876"/>
              <a:gd name="connsiteY8" fmla="*/ 2197507 h 5233159"/>
              <a:gd name="connsiteX9" fmla="*/ 4013780 w 4563876"/>
              <a:gd name="connsiteY9" fmla="*/ 2741933 h 5233159"/>
              <a:gd name="connsiteX10" fmla="*/ 4472163 w 4563876"/>
              <a:gd name="connsiteY10" fmla="*/ 3189669 h 5233159"/>
              <a:gd name="connsiteX11" fmla="*/ 4557625 w 4563876"/>
              <a:gd name="connsiteY11" fmla="*/ 3474236 h 5233159"/>
              <a:gd name="connsiteX12" fmla="*/ 4399138 w 4563876"/>
              <a:gd name="connsiteY12" fmla="*/ 3551619 h 5233159"/>
              <a:gd name="connsiteX13" fmla="*/ 3838568 w 4563876"/>
              <a:gd name="connsiteY13" fmla="*/ 3494156 h 5233159"/>
              <a:gd name="connsiteX14" fmla="*/ 3201487 w 4563876"/>
              <a:gd name="connsiteY14" fmla="*/ 3299282 h 5233159"/>
              <a:gd name="connsiteX15" fmla="*/ 2685413 w 4563876"/>
              <a:gd name="connsiteY15" fmla="*/ 4041513 h 5233159"/>
              <a:gd name="connsiteX16" fmla="*/ 1723654 w 4563876"/>
              <a:gd name="connsiteY16" fmla="*/ 4957131 h 5233159"/>
              <a:gd name="connsiteX17" fmla="*/ 773298 w 4563876"/>
              <a:gd name="connsiteY17" fmla="*/ 5221718 h 5233159"/>
              <a:gd name="connsiteX18" fmla="*/ 0 w 4563876"/>
              <a:gd name="connsiteY18" fmla="*/ 4328065 h 5233159"/>
              <a:gd name="connsiteX19" fmla="*/ 269701 w 4563876"/>
              <a:gd name="connsiteY19" fmla="*/ 3327107 h 5233159"/>
              <a:gd name="connsiteX0" fmla="*/ 269701 w 4564441"/>
              <a:gd name="connsiteY0" fmla="*/ 3327107 h 5233159"/>
              <a:gd name="connsiteX1" fmla="*/ 121008 w 4564441"/>
              <a:gd name="connsiteY1" fmla="*/ 2391511 h 5233159"/>
              <a:gd name="connsiteX2" fmla="*/ 766346 w 4564441"/>
              <a:gd name="connsiteY2" fmla="*/ 1530660 h 5233159"/>
              <a:gd name="connsiteX3" fmla="*/ 653159 w 4564441"/>
              <a:gd name="connsiteY3" fmla="*/ 571073 h 5233159"/>
              <a:gd name="connsiteX4" fmla="*/ 1005536 w 4564441"/>
              <a:gd name="connsiteY4" fmla="*/ 1448 h 5233159"/>
              <a:gd name="connsiteX5" fmla="*/ 1841946 w 4564441"/>
              <a:gd name="connsiteY5" fmla="*/ 791373 h 5233159"/>
              <a:gd name="connsiteX6" fmla="*/ 2547350 w 4564441"/>
              <a:gd name="connsiteY6" fmla="*/ 1326122 h 5233159"/>
              <a:gd name="connsiteX7" fmla="*/ 3445023 w 4564441"/>
              <a:gd name="connsiteY7" fmla="*/ 1693707 h 5233159"/>
              <a:gd name="connsiteX8" fmla="*/ 3741132 w 4564441"/>
              <a:gd name="connsiteY8" fmla="*/ 2197507 h 5233159"/>
              <a:gd name="connsiteX9" fmla="*/ 4013780 w 4564441"/>
              <a:gd name="connsiteY9" fmla="*/ 2741933 h 5233159"/>
              <a:gd name="connsiteX10" fmla="*/ 4475338 w 4564441"/>
              <a:gd name="connsiteY10" fmla="*/ 3164269 h 5233159"/>
              <a:gd name="connsiteX11" fmla="*/ 4557625 w 4564441"/>
              <a:gd name="connsiteY11" fmla="*/ 3474236 h 5233159"/>
              <a:gd name="connsiteX12" fmla="*/ 4399138 w 4564441"/>
              <a:gd name="connsiteY12" fmla="*/ 3551619 h 5233159"/>
              <a:gd name="connsiteX13" fmla="*/ 3838568 w 4564441"/>
              <a:gd name="connsiteY13" fmla="*/ 3494156 h 5233159"/>
              <a:gd name="connsiteX14" fmla="*/ 3201487 w 4564441"/>
              <a:gd name="connsiteY14" fmla="*/ 3299282 h 5233159"/>
              <a:gd name="connsiteX15" fmla="*/ 2685413 w 4564441"/>
              <a:gd name="connsiteY15" fmla="*/ 4041513 h 5233159"/>
              <a:gd name="connsiteX16" fmla="*/ 1723654 w 4564441"/>
              <a:gd name="connsiteY16" fmla="*/ 4957131 h 5233159"/>
              <a:gd name="connsiteX17" fmla="*/ 773298 w 4564441"/>
              <a:gd name="connsiteY17" fmla="*/ 5221718 h 5233159"/>
              <a:gd name="connsiteX18" fmla="*/ 0 w 4564441"/>
              <a:gd name="connsiteY18" fmla="*/ 4328065 h 5233159"/>
              <a:gd name="connsiteX19" fmla="*/ 269701 w 4564441"/>
              <a:gd name="connsiteY19" fmla="*/ 3327107 h 5233159"/>
              <a:gd name="connsiteX0" fmla="*/ 269701 w 4577672"/>
              <a:gd name="connsiteY0" fmla="*/ 3327107 h 5233159"/>
              <a:gd name="connsiteX1" fmla="*/ 121008 w 4577672"/>
              <a:gd name="connsiteY1" fmla="*/ 2391511 h 5233159"/>
              <a:gd name="connsiteX2" fmla="*/ 766346 w 4577672"/>
              <a:gd name="connsiteY2" fmla="*/ 1530660 h 5233159"/>
              <a:gd name="connsiteX3" fmla="*/ 653159 w 4577672"/>
              <a:gd name="connsiteY3" fmla="*/ 571073 h 5233159"/>
              <a:gd name="connsiteX4" fmla="*/ 1005536 w 4577672"/>
              <a:gd name="connsiteY4" fmla="*/ 1448 h 5233159"/>
              <a:gd name="connsiteX5" fmla="*/ 1841946 w 4577672"/>
              <a:gd name="connsiteY5" fmla="*/ 791373 h 5233159"/>
              <a:gd name="connsiteX6" fmla="*/ 2547350 w 4577672"/>
              <a:gd name="connsiteY6" fmla="*/ 1326122 h 5233159"/>
              <a:gd name="connsiteX7" fmla="*/ 3445023 w 4577672"/>
              <a:gd name="connsiteY7" fmla="*/ 1693707 h 5233159"/>
              <a:gd name="connsiteX8" fmla="*/ 3741132 w 4577672"/>
              <a:gd name="connsiteY8" fmla="*/ 2197507 h 5233159"/>
              <a:gd name="connsiteX9" fmla="*/ 4013780 w 4577672"/>
              <a:gd name="connsiteY9" fmla="*/ 2741933 h 5233159"/>
              <a:gd name="connsiteX10" fmla="*/ 4475338 w 4577672"/>
              <a:gd name="connsiteY10" fmla="*/ 3164269 h 5233159"/>
              <a:gd name="connsiteX11" fmla="*/ 4557625 w 4577672"/>
              <a:gd name="connsiteY11" fmla="*/ 3474236 h 5233159"/>
              <a:gd name="connsiteX12" fmla="*/ 4399138 w 4577672"/>
              <a:gd name="connsiteY12" fmla="*/ 3551619 h 5233159"/>
              <a:gd name="connsiteX13" fmla="*/ 3838568 w 4577672"/>
              <a:gd name="connsiteY13" fmla="*/ 3494156 h 5233159"/>
              <a:gd name="connsiteX14" fmla="*/ 3201487 w 4577672"/>
              <a:gd name="connsiteY14" fmla="*/ 3299282 h 5233159"/>
              <a:gd name="connsiteX15" fmla="*/ 2685413 w 4577672"/>
              <a:gd name="connsiteY15" fmla="*/ 4041513 h 5233159"/>
              <a:gd name="connsiteX16" fmla="*/ 1723654 w 4577672"/>
              <a:gd name="connsiteY16" fmla="*/ 4957131 h 5233159"/>
              <a:gd name="connsiteX17" fmla="*/ 773298 w 4577672"/>
              <a:gd name="connsiteY17" fmla="*/ 5221718 h 5233159"/>
              <a:gd name="connsiteX18" fmla="*/ 0 w 4577672"/>
              <a:gd name="connsiteY18" fmla="*/ 4328065 h 5233159"/>
              <a:gd name="connsiteX19" fmla="*/ 269701 w 4577672"/>
              <a:gd name="connsiteY19" fmla="*/ 3327107 h 5233159"/>
              <a:gd name="connsiteX0" fmla="*/ 269701 w 4583438"/>
              <a:gd name="connsiteY0" fmla="*/ 3327107 h 5233159"/>
              <a:gd name="connsiteX1" fmla="*/ 121008 w 4583438"/>
              <a:gd name="connsiteY1" fmla="*/ 2391511 h 5233159"/>
              <a:gd name="connsiteX2" fmla="*/ 766346 w 4583438"/>
              <a:gd name="connsiteY2" fmla="*/ 1530660 h 5233159"/>
              <a:gd name="connsiteX3" fmla="*/ 653159 w 4583438"/>
              <a:gd name="connsiteY3" fmla="*/ 571073 h 5233159"/>
              <a:gd name="connsiteX4" fmla="*/ 1005536 w 4583438"/>
              <a:gd name="connsiteY4" fmla="*/ 1448 h 5233159"/>
              <a:gd name="connsiteX5" fmla="*/ 1841946 w 4583438"/>
              <a:gd name="connsiteY5" fmla="*/ 791373 h 5233159"/>
              <a:gd name="connsiteX6" fmla="*/ 2547350 w 4583438"/>
              <a:gd name="connsiteY6" fmla="*/ 1326122 h 5233159"/>
              <a:gd name="connsiteX7" fmla="*/ 3445023 w 4583438"/>
              <a:gd name="connsiteY7" fmla="*/ 1693707 h 5233159"/>
              <a:gd name="connsiteX8" fmla="*/ 3741132 w 4583438"/>
              <a:gd name="connsiteY8" fmla="*/ 2197507 h 5233159"/>
              <a:gd name="connsiteX9" fmla="*/ 4013780 w 4583438"/>
              <a:gd name="connsiteY9" fmla="*/ 2741933 h 5233159"/>
              <a:gd name="connsiteX10" fmla="*/ 4475338 w 4583438"/>
              <a:gd name="connsiteY10" fmla="*/ 3164269 h 5233159"/>
              <a:gd name="connsiteX11" fmla="*/ 4567150 w 4583438"/>
              <a:gd name="connsiteY11" fmla="*/ 3455186 h 5233159"/>
              <a:gd name="connsiteX12" fmla="*/ 4399138 w 4583438"/>
              <a:gd name="connsiteY12" fmla="*/ 3551619 h 5233159"/>
              <a:gd name="connsiteX13" fmla="*/ 3838568 w 4583438"/>
              <a:gd name="connsiteY13" fmla="*/ 3494156 h 5233159"/>
              <a:gd name="connsiteX14" fmla="*/ 3201487 w 4583438"/>
              <a:gd name="connsiteY14" fmla="*/ 3299282 h 5233159"/>
              <a:gd name="connsiteX15" fmla="*/ 2685413 w 4583438"/>
              <a:gd name="connsiteY15" fmla="*/ 4041513 h 5233159"/>
              <a:gd name="connsiteX16" fmla="*/ 1723654 w 4583438"/>
              <a:gd name="connsiteY16" fmla="*/ 4957131 h 5233159"/>
              <a:gd name="connsiteX17" fmla="*/ 773298 w 4583438"/>
              <a:gd name="connsiteY17" fmla="*/ 5221718 h 5233159"/>
              <a:gd name="connsiteX18" fmla="*/ 0 w 4583438"/>
              <a:gd name="connsiteY18" fmla="*/ 4328065 h 5233159"/>
              <a:gd name="connsiteX19" fmla="*/ 269701 w 4583438"/>
              <a:gd name="connsiteY19" fmla="*/ 3327107 h 5233159"/>
              <a:gd name="connsiteX0" fmla="*/ 269701 w 4583438"/>
              <a:gd name="connsiteY0" fmla="*/ 3327107 h 5233159"/>
              <a:gd name="connsiteX1" fmla="*/ 121008 w 4583438"/>
              <a:gd name="connsiteY1" fmla="*/ 2391511 h 5233159"/>
              <a:gd name="connsiteX2" fmla="*/ 396165 w 4583438"/>
              <a:gd name="connsiteY2" fmla="*/ 2002318 h 5233159"/>
              <a:gd name="connsiteX3" fmla="*/ 766346 w 4583438"/>
              <a:gd name="connsiteY3" fmla="*/ 1530660 h 5233159"/>
              <a:gd name="connsiteX4" fmla="*/ 653159 w 4583438"/>
              <a:gd name="connsiteY4" fmla="*/ 571073 h 5233159"/>
              <a:gd name="connsiteX5" fmla="*/ 1005536 w 4583438"/>
              <a:gd name="connsiteY5" fmla="*/ 1448 h 5233159"/>
              <a:gd name="connsiteX6" fmla="*/ 1841946 w 4583438"/>
              <a:gd name="connsiteY6" fmla="*/ 791373 h 5233159"/>
              <a:gd name="connsiteX7" fmla="*/ 2547350 w 4583438"/>
              <a:gd name="connsiteY7" fmla="*/ 1326122 h 5233159"/>
              <a:gd name="connsiteX8" fmla="*/ 3445023 w 4583438"/>
              <a:gd name="connsiteY8" fmla="*/ 1693707 h 5233159"/>
              <a:gd name="connsiteX9" fmla="*/ 3741132 w 4583438"/>
              <a:gd name="connsiteY9" fmla="*/ 2197507 h 5233159"/>
              <a:gd name="connsiteX10" fmla="*/ 4013780 w 4583438"/>
              <a:gd name="connsiteY10" fmla="*/ 2741933 h 5233159"/>
              <a:gd name="connsiteX11" fmla="*/ 4475338 w 4583438"/>
              <a:gd name="connsiteY11" fmla="*/ 3164269 h 5233159"/>
              <a:gd name="connsiteX12" fmla="*/ 4567150 w 4583438"/>
              <a:gd name="connsiteY12" fmla="*/ 3455186 h 5233159"/>
              <a:gd name="connsiteX13" fmla="*/ 4399138 w 4583438"/>
              <a:gd name="connsiteY13" fmla="*/ 3551619 h 5233159"/>
              <a:gd name="connsiteX14" fmla="*/ 3838568 w 4583438"/>
              <a:gd name="connsiteY14" fmla="*/ 3494156 h 5233159"/>
              <a:gd name="connsiteX15" fmla="*/ 3201487 w 4583438"/>
              <a:gd name="connsiteY15" fmla="*/ 3299282 h 5233159"/>
              <a:gd name="connsiteX16" fmla="*/ 2685413 w 4583438"/>
              <a:gd name="connsiteY16" fmla="*/ 4041513 h 5233159"/>
              <a:gd name="connsiteX17" fmla="*/ 1723654 w 4583438"/>
              <a:gd name="connsiteY17" fmla="*/ 4957131 h 5233159"/>
              <a:gd name="connsiteX18" fmla="*/ 773298 w 4583438"/>
              <a:gd name="connsiteY18" fmla="*/ 5221718 h 5233159"/>
              <a:gd name="connsiteX19" fmla="*/ 0 w 4583438"/>
              <a:gd name="connsiteY19" fmla="*/ 4328065 h 5233159"/>
              <a:gd name="connsiteX20" fmla="*/ 269701 w 4583438"/>
              <a:gd name="connsiteY20" fmla="*/ 3327107 h 5233159"/>
              <a:gd name="connsiteX0" fmla="*/ 269701 w 4583438"/>
              <a:gd name="connsiteY0" fmla="*/ 3327107 h 5233159"/>
              <a:gd name="connsiteX1" fmla="*/ 121008 w 4583438"/>
              <a:gd name="connsiteY1" fmla="*/ 2391511 h 5233159"/>
              <a:gd name="connsiteX2" fmla="*/ 396165 w 4583438"/>
              <a:gd name="connsiteY2" fmla="*/ 2002318 h 5233159"/>
              <a:gd name="connsiteX3" fmla="*/ 766346 w 4583438"/>
              <a:gd name="connsiteY3" fmla="*/ 1530660 h 5233159"/>
              <a:gd name="connsiteX4" fmla="*/ 653159 w 4583438"/>
              <a:gd name="connsiteY4" fmla="*/ 571073 h 5233159"/>
              <a:gd name="connsiteX5" fmla="*/ 1005536 w 4583438"/>
              <a:gd name="connsiteY5" fmla="*/ 1448 h 5233159"/>
              <a:gd name="connsiteX6" fmla="*/ 1841946 w 4583438"/>
              <a:gd name="connsiteY6" fmla="*/ 791373 h 5233159"/>
              <a:gd name="connsiteX7" fmla="*/ 3445023 w 4583438"/>
              <a:gd name="connsiteY7" fmla="*/ 1693707 h 5233159"/>
              <a:gd name="connsiteX8" fmla="*/ 3741132 w 4583438"/>
              <a:gd name="connsiteY8" fmla="*/ 2197507 h 5233159"/>
              <a:gd name="connsiteX9" fmla="*/ 4013780 w 4583438"/>
              <a:gd name="connsiteY9" fmla="*/ 2741933 h 5233159"/>
              <a:gd name="connsiteX10" fmla="*/ 4475338 w 4583438"/>
              <a:gd name="connsiteY10" fmla="*/ 3164269 h 5233159"/>
              <a:gd name="connsiteX11" fmla="*/ 4567150 w 4583438"/>
              <a:gd name="connsiteY11" fmla="*/ 3455186 h 5233159"/>
              <a:gd name="connsiteX12" fmla="*/ 4399138 w 4583438"/>
              <a:gd name="connsiteY12" fmla="*/ 3551619 h 5233159"/>
              <a:gd name="connsiteX13" fmla="*/ 3838568 w 4583438"/>
              <a:gd name="connsiteY13" fmla="*/ 3494156 h 5233159"/>
              <a:gd name="connsiteX14" fmla="*/ 3201487 w 4583438"/>
              <a:gd name="connsiteY14" fmla="*/ 3299282 h 5233159"/>
              <a:gd name="connsiteX15" fmla="*/ 2685413 w 4583438"/>
              <a:gd name="connsiteY15" fmla="*/ 4041513 h 5233159"/>
              <a:gd name="connsiteX16" fmla="*/ 1723654 w 4583438"/>
              <a:gd name="connsiteY16" fmla="*/ 4957131 h 5233159"/>
              <a:gd name="connsiteX17" fmla="*/ 773298 w 4583438"/>
              <a:gd name="connsiteY17" fmla="*/ 5221718 h 5233159"/>
              <a:gd name="connsiteX18" fmla="*/ 0 w 4583438"/>
              <a:gd name="connsiteY18" fmla="*/ 4328065 h 5233159"/>
              <a:gd name="connsiteX19" fmla="*/ 269701 w 4583438"/>
              <a:gd name="connsiteY19" fmla="*/ 3327107 h 5233159"/>
              <a:gd name="connsiteX0" fmla="*/ 269701 w 4583438"/>
              <a:gd name="connsiteY0" fmla="*/ 3366080 h 5272132"/>
              <a:gd name="connsiteX1" fmla="*/ 121008 w 4583438"/>
              <a:gd name="connsiteY1" fmla="*/ 2430484 h 5272132"/>
              <a:gd name="connsiteX2" fmla="*/ 396165 w 4583438"/>
              <a:gd name="connsiteY2" fmla="*/ 2041291 h 5272132"/>
              <a:gd name="connsiteX3" fmla="*/ 766346 w 4583438"/>
              <a:gd name="connsiteY3" fmla="*/ 1569633 h 5272132"/>
              <a:gd name="connsiteX4" fmla="*/ 653159 w 4583438"/>
              <a:gd name="connsiteY4" fmla="*/ 610046 h 5272132"/>
              <a:gd name="connsiteX5" fmla="*/ 1005536 w 4583438"/>
              <a:gd name="connsiteY5" fmla="*/ 40421 h 5272132"/>
              <a:gd name="connsiteX6" fmla="*/ 3445023 w 4583438"/>
              <a:gd name="connsiteY6" fmla="*/ 1732680 h 5272132"/>
              <a:gd name="connsiteX7" fmla="*/ 3741132 w 4583438"/>
              <a:gd name="connsiteY7" fmla="*/ 2236480 h 5272132"/>
              <a:gd name="connsiteX8" fmla="*/ 4013780 w 4583438"/>
              <a:gd name="connsiteY8" fmla="*/ 2780906 h 5272132"/>
              <a:gd name="connsiteX9" fmla="*/ 4475338 w 4583438"/>
              <a:gd name="connsiteY9" fmla="*/ 3203242 h 5272132"/>
              <a:gd name="connsiteX10" fmla="*/ 4567150 w 4583438"/>
              <a:gd name="connsiteY10" fmla="*/ 3494159 h 5272132"/>
              <a:gd name="connsiteX11" fmla="*/ 4399138 w 4583438"/>
              <a:gd name="connsiteY11" fmla="*/ 3590592 h 5272132"/>
              <a:gd name="connsiteX12" fmla="*/ 3838568 w 4583438"/>
              <a:gd name="connsiteY12" fmla="*/ 3533129 h 5272132"/>
              <a:gd name="connsiteX13" fmla="*/ 3201487 w 4583438"/>
              <a:gd name="connsiteY13" fmla="*/ 3338255 h 5272132"/>
              <a:gd name="connsiteX14" fmla="*/ 2685413 w 4583438"/>
              <a:gd name="connsiteY14" fmla="*/ 4080486 h 5272132"/>
              <a:gd name="connsiteX15" fmla="*/ 1723654 w 4583438"/>
              <a:gd name="connsiteY15" fmla="*/ 4996104 h 5272132"/>
              <a:gd name="connsiteX16" fmla="*/ 773298 w 4583438"/>
              <a:gd name="connsiteY16" fmla="*/ 5260691 h 5272132"/>
              <a:gd name="connsiteX17" fmla="*/ 0 w 4583438"/>
              <a:gd name="connsiteY17" fmla="*/ 4367038 h 5272132"/>
              <a:gd name="connsiteX18" fmla="*/ 269701 w 4583438"/>
              <a:gd name="connsiteY18" fmla="*/ 3366080 h 5272132"/>
              <a:gd name="connsiteX0" fmla="*/ 269701 w 4583438"/>
              <a:gd name="connsiteY0" fmla="*/ 2756795 h 4662847"/>
              <a:gd name="connsiteX1" fmla="*/ 121008 w 4583438"/>
              <a:gd name="connsiteY1" fmla="*/ 1821199 h 4662847"/>
              <a:gd name="connsiteX2" fmla="*/ 396165 w 4583438"/>
              <a:gd name="connsiteY2" fmla="*/ 1432006 h 4662847"/>
              <a:gd name="connsiteX3" fmla="*/ 766346 w 4583438"/>
              <a:gd name="connsiteY3" fmla="*/ 960348 h 4662847"/>
              <a:gd name="connsiteX4" fmla="*/ 653159 w 4583438"/>
              <a:gd name="connsiteY4" fmla="*/ 761 h 4662847"/>
              <a:gd name="connsiteX5" fmla="*/ 3445023 w 4583438"/>
              <a:gd name="connsiteY5" fmla="*/ 1123395 h 4662847"/>
              <a:gd name="connsiteX6" fmla="*/ 3741132 w 4583438"/>
              <a:gd name="connsiteY6" fmla="*/ 1627195 h 4662847"/>
              <a:gd name="connsiteX7" fmla="*/ 4013780 w 4583438"/>
              <a:gd name="connsiteY7" fmla="*/ 2171621 h 4662847"/>
              <a:gd name="connsiteX8" fmla="*/ 4475338 w 4583438"/>
              <a:gd name="connsiteY8" fmla="*/ 2593957 h 4662847"/>
              <a:gd name="connsiteX9" fmla="*/ 4567150 w 4583438"/>
              <a:gd name="connsiteY9" fmla="*/ 2884874 h 4662847"/>
              <a:gd name="connsiteX10" fmla="*/ 4399138 w 4583438"/>
              <a:gd name="connsiteY10" fmla="*/ 2981307 h 4662847"/>
              <a:gd name="connsiteX11" fmla="*/ 3838568 w 4583438"/>
              <a:gd name="connsiteY11" fmla="*/ 2923844 h 4662847"/>
              <a:gd name="connsiteX12" fmla="*/ 3201487 w 4583438"/>
              <a:gd name="connsiteY12" fmla="*/ 2728970 h 4662847"/>
              <a:gd name="connsiteX13" fmla="*/ 2685413 w 4583438"/>
              <a:gd name="connsiteY13" fmla="*/ 3471201 h 4662847"/>
              <a:gd name="connsiteX14" fmla="*/ 1723654 w 4583438"/>
              <a:gd name="connsiteY14" fmla="*/ 4386819 h 4662847"/>
              <a:gd name="connsiteX15" fmla="*/ 773298 w 4583438"/>
              <a:gd name="connsiteY15" fmla="*/ 4651406 h 4662847"/>
              <a:gd name="connsiteX16" fmla="*/ 0 w 4583438"/>
              <a:gd name="connsiteY16" fmla="*/ 3757753 h 4662847"/>
              <a:gd name="connsiteX17" fmla="*/ 269701 w 4583438"/>
              <a:gd name="connsiteY17" fmla="*/ 2756795 h 4662847"/>
              <a:gd name="connsiteX0" fmla="*/ 269701 w 4583438"/>
              <a:gd name="connsiteY0" fmla="*/ 2783760 h 4689812"/>
              <a:gd name="connsiteX1" fmla="*/ 121008 w 4583438"/>
              <a:gd name="connsiteY1" fmla="*/ 1848164 h 4689812"/>
              <a:gd name="connsiteX2" fmla="*/ 396165 w 4583438"/>
              <a:gd name="connsiteY2" fmla="*/ 1458971 h 4689812"/>
              <a:gd name="connsiteX3" fmla="*/ 766346 w 4583438"/>
              <a:gd name="connsiteY3" fmla="*/ 987313 h 4689812"/>
              <a:gd name="connsiteX4" fmla="*/ 653159 w 4583438"/>
              <a:gd name="connsiteY4" fmla="*/ 733 h 4689812"/>
              <a:gd name="connsiteX5" fmla="*/ 3445023 w 4583438"/>
              <a:gd name="connsiteY5" fmla="*/ 1150360 h 4689812"/>
              <a:gd name="connsiteX6" fmla="*/ 3741132 w 4583438"/>
              <a:gd name="connsiteY6" fmla="*/ 1654160 h 4689812"/>
              <a:gd name="connsiteX7" fmla="*/ 4013780 w 4583438"/>
              <a:gd name="connsiteY7" fmla="*/ 2198586 h 4689812"/>
              <a:gd name="connsiteX8" fmla="*/ 4475338 w 4583438"/>
              <a:gd name="connsiteY8" fmla="*/ 2620922 h 4689812"/>
              <a:gd name="connsiteX9" fmla="*/ 4567150 w 4583438"/>
              <a:gd name="connsiteY9" fmla="*/ 2911839 h 4689812"/>
              <a:gd name="connsiteX10" fmla="*/ 4399138 w 4583438"/>
              <a:gd name="connsiteY10" fmla="*/ 3008272 h 4689812"/>
              <a:gd name="connsiteX11" fmla="*/ 3838568 w 4583438"/>
              <a:gd name="connsiteY11" fmla="*/ 2950809 h 4689812"/>
              <a:gd name="connsiteX12" fmla="*/ 3201487 w 4583438"/>
              <a:gd name="connsiteY12" fmla="*/ 2755935 h 4689812"/>
              <a:gd name="connsiteX13" fmla="*/ 2685413 w 4583438"/>
              <a:gd name="connsiteY13" fmla="*/ 3498166 h 4689812"/>
              <a:gd name="connsiteX14" fmla="*/ 1723654 w 4583438"/>
              <a:gd name="connsiteY14" fmla="*/ 4413784 h 4689812"/>
              <a:gd name="connsiteX15" fmla="*/ 773298 w 4583438"/>
              <a:gd name="connsiteY15" fmla="*/ 4678371 h 4689812"/>
              <a:gd name="connsiteX16" fmla="*/ 0 w 4583438"/>
              <a:gd name="connsiteY16" fmla="*/ 3784718 h 4689812"/>
              <a:gd name="connsiteX17" fmla="*/ 269701 w 4583438"/>
              <a:gd name="connsiteY17" fmla="*/ 2783760 h 4689812"/>
              <a:gd name="connsiteX0" fmla="*/ 269701 w 4583438"/>
              <a:gd name="connsiteY0" fmla="*/ 1810037 h 3716089"/>
              <a:gd name="connsiteX1" fmla="*/ 121008 w 4583438"/>
              <a:gd name="connsiteY1" fmla="*/ 874441 h 3716089"/>
              <a:gd name="connsiteX2" fmla="*/ 396165 w 4583438"/>
              <a:gd name="connsiteY2" fmla="*/ 485248 h 3716089"/>
              <a:gd name="connsiteX3" fmla="*/ 766346 w 4583438"/>
              <a:gd name="connsiteY3" fmla="*/ 13590 h 3716089"/>
              <a:gd name="connsiteX4" fmla="*/ 3445023 w 4583438"/>
              <a:gd name="connsiteY4" fmla="*/ 176637 h 3716089"/>
              <a:gd name="connsiteX5" fmla="*/ 3741132 w 4583438"/>
              <a:gd name="connsiteY5" fmla="*/ 680437 h 3716089"/>
              <a:gd name="connsiteX6" fmla="*/ 4013780 w 4583438"/>
              <a:gd name="connsiteY6" fmla="*/ 1224863 h 3716089"/>
              <a:gd name="connsiteX7" fmla="*/ 4475338 w 4583438"/>
              <a:gd name="connsiteY7" fmla="*/ 1647199 h 3716089"/>
              <a:gd name="connsiteX8" fmla="*/ 4567150 w 4583438"/>
              <a:gd name="connsiteY8" fmla="*/ 1938116 h 3716089"/>
              <a:gd name="connsiteX9" fmla="*/ 4399138 w 4583438"/>
              <a:gd name="connsiteY9" fmla="*/ 2034549 h 3716089"/>
              <a:gd name="connsiteX10" fmla="*/ 3838568 w 4583438"/>
              <a:gd name="connsiteY10" fmla="*/ 1977086 h 3716089"/>
              <a:gd name="connsiteX11" fmla="*/ 3201487 w 4583438"/>
              <a:gd name="connsiteY11" fmla="*/ 1782212 h 3716089"/>
              <a:gd name="connsiteX12" fmla="*/ 2685413 w 4583438"/>
              <a:gd name="connsiteY12" fmla="*/ 2524443 h 3716089"/>
              <a:gd name="connsiteX13" fmla="*/ 1723654 w 4583438"/>
              <a:gd name="connsiteY13" fmla="*/ 3440061 h 3716089"/>
              <a:gd name="connsiteX14" fmla="*/ 773298 w 4583438"/>
              <a:gd name="connsiteY14" fmla="*/ 3704648 h 3716089"/>
              <a:gd name="connsiteX15" fmla="*/ 0 w 4583438"/>
              <a:gd name="connsiteY15" fmla="*/ 2810995 h 3716089"/>
              <a:gd name="connsiteX16" fmla="*/ 269701 w 4583438"/>
              <a:gd name="connsiteY16" fmla="*/ 1810037 h 3716089"/>
              <a:gd name="connsiteX0" fmla="*/ 269701 w 4583438"/>
              <a:gd name="connsiteY0" fmla="*/ 1796447 h 3702499"/>
              <a:gd name="connsiteX1" fmla="*/ 121008 w 4583438"/>
              <a:gd name="connsiteY1" fmla="*/ 860851 h 3702499"/>
              <a:gd name="connsiteX2" fmla="*/ 396165 w 4583438"/>
              <a:gd name="connsiteY2" fmla="*/ 471658 h 3702499"/>
              <a:gd name="connsiteX3" fmla="*/ 766346 w 4583438"/>
              <a:gd name="connsiteY3" fmla="*/ 0 h 3702499"/>
              <a:gd name="connsiteX4" fmla="*/ 3741132 w 4583438"/>
              <a:gd name="connsiteY4" fmla="*/ 666847 h 3702499"/>
              <a:gd name="connsiteX5" fmla="*/ 4013780 w 4583438"/>
              <a:gd name="connsiteY5" fmla="*/ 1211273 h 3702499"/>
              <a:gd name="connsiteX6" fmla="*/ 4475338 w 4583438"/>
              <a:gd name="connsiteY6" fmla="*/ 1633609 h 3702499"/>
              <a:gd name="connsiteX7" fmla="*/ 4567150 w 4583438"/>
              <a:gd name="connsiteY7" fmla="*/ 1924526 h 3702499"/>
              <a:gd name="connsiteX8" fmla="*/ 4399138 w 4583438"/>
              <a:gd name="connsiteY8" fmla="*/ 2020959 h 3702499"/>
              <a:gd name="connsiteX9" fmla="*/ 3838568 w 4583438"/>
              <a:gd name="connsiteY9" fmla="*/ 1963496 h 3702499"/>
              <a:gd name="connsiteX10" fmla="*/ 3201487 w 4583438"/>
              <a:gd name="connsiteY10" fmla="*/ 1768622 h 3702499"/>
              <a:gd name="connsiteX11" fmla="*/ 2685413 w 4583438"/>
              <a:gd name="connsiteY11" fmla="*/ 2510853 h 3702499"/>
              <a:gd name="connsiteX12" fmla="*/ 1723654 w 4583438"/>
              <a:gd name="connsiteY12" fmla="*/ 3426471 h 3702499"/>
              <a:gd name="connsiteX13" fmla="*/ 773298 w 4583438"/>
              <a:gd name="connsiteY13" fmla="*/ 3691058 h 3702499"/>
              <a:gd name="connsiteX14" fmla="*/ 0 w 4583438"/>
              <a:gd name="connsiteY14" fmla="*/ 2797405 h 3702499"/>
              <a:gd name="connsiteX15" fmla="*/ 269701 w 4583438"/>
              <a:gd name="connsiteY15" fmla="*/ 1796447 h 3702499"/>
              <a:gd name="connsiteX0" fmla="*/ 269701 w 4507730"/>
              <a:gd name="connsiteY0" fmla="*/ 1796447 h 3702499"/>
              <a:gd name="connsiteX1" fmla="*/ 121008 w 4507730"/>
              <a:gd name="connsiteY1" fmla="*/ 860851 h 3702499"/>
              <a:gd name="connsiteX2" fmla="*/ 396165 w 4507730"/>
              <a:gd name="connsiteY2" fmla="*/ 471658 h 3702499"/>
              <a:gd name="connsiteX3" fmla="*/ 766346 w 4507730"/>
              <a:gd name="connsiteY3" fmla="*/ 0 h 3702499"/>
              <a:gd name="connsiteX4" fmla="*/ 3741132 w 4507730"/>
              <a:gd name="connsiteY4" fmla="*/ 666847 h 3702499"/>
              <a:gd name="connsiteX5" fmla="*/ 4013780 w 4507730"/>
              <a:gd name="connsiteY5" fmla="*/ 1211273 h 3702499"/>
              <a:gd name="connsiteX6" fmla="*/ 4475338 w 4507730"/>
              <a:gd name="connsiteY6" fmla="*/ 1633609 h 3702499"/>
              <a:gd name="connsiteX7" fmla="*/ 4399138 w 4507730"/>
              <a:gd name="connsiteY7" fmla="*/ 2020959 h 3702499"/>
              <a:gd name="connsiteX8" fmla="*/ 3838568 w 4507730"/>
              <a:gd name="connsiteY8" fmla="*/ 1963496 h 3702499"/>
              <a:gd name="connsiteX9" fmla="*/ 3201487 w 4507730"/>
              <a:gd name="connsiteY9" fmla="*/ 1768622 h 3702499"/>
              <a:gd name="connsiteX10" fmla="*/ 2685413 w 4507730"/>
              <a:gd name="connsiteY10" fmla="*/ 2510853 h 3702499"/>
              <a:gd name="connsiteX11" fmla="*/ 1723654 w 4507730"/>
              <a:gd name="connsiteY11" fmla="*/ 3426471 h 3702499"/>
              <a:gd name="connsiteX12" fmla="*/ 773298 w 4507730"/>
              <a:gd name="connsiteY12" fmla="*/ 3691058 h 3702499"/>
              <a:gd name="connsiteX13" fmla="*/ 0 w 4507730"/>
              <a:gd name="connsiteY13" fmla="*/ 2797405 h 3702499"/>
              <a:gd name="connsiteX14" fmla="*/ 269701 w 4507730"/>
              <a:gd name="connsiteY14" fmla="*/ 1796447 h 3702499"/>
              <a:gd name="connsiteX0" fmla="*/ 269701 w 4401098"/>
              <a:gd name="connsiteY0" fmla="*/ 1796447 h 3702499"/>
              <a:gd name="connsiteX1" fmla="*/ 121008 w 4401098"/>
              <a:gd name="connsiteY1" fmla="*/ 860851 h 3702499"/>
              <a:gd name="connsiteX2" fmla="*/ 396165 w 4401098"/>
              <a:gd name="connsiteY2" fmla="*/ 471658 h 3702499"/>
              <a:gd name="connsiteX3" fmla="*/ 766346 w 4401098"/>
              <a:gd name="connsiteY3" fmla="*/ 0 h 3702499"/>
              <a:gd name="connsiteX4" fmla="*/ 3741132 w 4401098"/>
              <a:gd name="connsiteY4" fmla="*/ 666847 h 3702499"/>
              <a:gd name="connsiteX5" fmla="*/ 4013780 w 4401098"/>
              <a:gd name="connsiteY5" fmla="*/ 1211273 h 3702499"/>
              <a:gd name="connsiteX6" fmla="*/ 4399138 w 4401098"/>
              <a:gd name="connsiteY6" fmla="*/ 2020959 h 3702499"/>
              <a:gd name="connsiteX7" fmla="*/ 3838568 w 4401098"/>
              <a:gd name="connsiteY7" fmla="*/ 1963496 h 3702499"/>
              <a:gd name="connsiteX8" fmla="*/ 3201487 w 4401098"/>
              <a:gd name="connsiteY8" fmla="*/ 1768622 h 3702499"/>
              <a:gd name="connsiteX9" fmla="*/ 2685413 w 4401098"/>
              <a:gd name="connsiteY9" fmla="*/ 2510853 h 3702499"/>
              <a:gd name="connsiteX10" fmla="*/ 1723654 w 4401098"/>
              <a:gd name="connsiteY10" fmla="*/ 3426471 h 3702499"/>
              <a:gd name="connsiteX11" fmla="*/ 773298 w 4401098"/>
              <a:gd name="connsiteY11" fmla="*/ 3691058 h 3702499"/>
              <a:gd name="connsiteX12" fmla="*/ 0 w 4401098"/>
              <a:gd name="connsiteY12" fmla="*/ 2797405 h 3702499"/>
              <a:gd name="connsiteX13" fmla="*/ 269701 w 4401098"/>
              <a:gd name="connsiteY13" fmla="*/ 1796447 h 3702499"/>
              <a:gd name="connsiteX0" fmla="*/ 269701 w 4074357"/>
              <a:gd name="connsiteY0" fmla="*/ 1796447 h 3702499"/>
              <a:gd name="connsiteX1" fmla="*/ 121008 w 4074357"/>
              <a:gd name="connsiteY1" fmla="*/ 860851 h 3702499"/>
              <a:gd name="connsiteX2" fmla="*/ 396165 w 4074357"/>
              <a:gd name="connsiteY2" fmla="*/ 471658 h 3702499"/>
              <a:gd name="connsiteX3" fmla="*/ 766346 w 4074357"/>
              <a:gd name="connsiteY3" fmla="*/ 0 h 3702499"/>
              <a:gd name="connsiteX4" fmla="*/ 3741132 w 4074357"/>
              <a:gd name="connsiteY4" fmla="*/ 666847 h 3702499"/>
              <a:gd name="connsiteX5" fmla="*/ 4013780 w 4074357"/>
              <a:gd name="connsiteY5" fmla="*/ 1211273 h 3702499"/>
              <a:gd name="connsiteX6" fmla="*/ 3838568 w 4074357"/>
              <a:gd name="connsiteY6" fmla="*/ 1963496 h 3702499"/>
              <a:gd name="connsiteX7" fmla="*/ 3201487 w 4074357"/>
              <a:gd name="connsiteY7" fmla="*/ 1768622 h 3702499"/>
              <a:gd name="connsiteX8" fmla="*/ 2685413 w 4074357"/>
              <a:gd name="connsiteY8" fmla="*/ 2510853 h 3702499"/>
              <a:gd name="connsiteX9" fmla="*/ 1723654 w 4074357"/>
              <a:gd name="connsiteY9" fmla="*/ 3426471 h 3702499"/>
              <a:gd name="connsiteX10" fmla="*/ 773298 w 4074357"/>
              <a:gd name="connsiteY10" fmla="*/ 3691058 h 3702499"/>
              <a:gd name="connsiteX11" fmla="*/ 0 w 4074357"/>
              <a:gd name="connsiteY11" fmla="*/ 2797405 h 3702499"/>
              <a:gd name="connsiteX12" fmla="*/ 269701 w 4074357"/>
              <a:gd name="connsiteY12" fmla="*/ 1796447 h 3702499"/>
              <a:gd name="connsiteX0" fmla="*/ 269701 w 4115505"/>
              <a:gd name="connsiteY0" fmla="*/ 1796447 h 3702499"/>
              <a:gd name="connsiteX1" fmla="*/ 121008 w 4115505"/>
              <a:gd name="connsiteY1" fmla="*/ 860851 h 3702499"/>
              <a:gd name="connsiteX2" fmla="*/ 396165 w 4115505"/>
              <a:gd name="connsiteY2" fmla="*/ 471658 h 3702499"/>
              <a:gd name="connsiteX3" fmla="*/ 766346 w 4115505"/>
              <a:gd name="connsiteY3" fmla="*/ 0 h 3702499"/>
              <a:gd name="connsiteX4" fmla="*/ 3741132 w 4115505"/>
              <a:gd name="connsiteY4" fmla="*/ 666847 h 3702499"/>
              <a:gd name="connsiteX5" fmla="*/ 4013780 w 4115505"/>
              <a:gd name="connsiteY5" fmla="*/ 1211273 h 3702499"/>
              <a:gd name="connsiteX6" fmla="*/ 3201487 w 4115505"/>
              <a:gd name="connsiteY6" fmla="*/ 1768622 h 3702499"/>
              <a:gd name="connsiteX7" fmla="*/ 2685413 w 4115505"/>
              <a:gd name="connsiteY7" fmla="*/ 2510853 h 3702499"/>
              <a:gd name="connsiteX8" fmla="*/ 1723654 w 4115505"/>
              <a:gd name="connsiteY8" fmla="*/ 3426471 h 3702499"/>
              <a:gd name="connsiteX9" fmla="*/ 773298 w 4115505"/>
              <a:gd name="connsiteY9" fmla="*/ 3691058 h 3702499"/>
              <a:gd name="connsiteX10" fmla="*/ 0 w 4115505"/>
              <a:gd name="connsiteY10" fmla="*/ 2797405 h 3702499"/>
              <a:gd name="connsiteX11" fmla="*/ 269701 w 4115505"/>
              <a:gd name="connsiteY11" fmla="*/ 1796447 h 3702499"/>
              <a:gd name="connsiteX0" fmla="*/ 269701 w 3857787"/>
              <a:gd name="connsiteY0" fmla="*/ 1796447 h 3702499"/>
              <a:gd name="connsiteX1" fmla="*/ 121008 w 3857787"/>
              <a:gd name="connsiteY1" fmla="*/ 860851 h 3702499"/>
              <a:gd name="connsiteX2" fmla="*/ 396165 w 3857787"/>
              <a:gd name="connsiteY2" fmla="*/ 471658 h 3702499"/>
              <a:gd name="connsiteX3" fmla="*/ 766346 w 3857787"/>
              <a:gd name="connsiteY3" fmla="*/ 0 h 3702499"/>
              <a:gd name="connsiteX4" fmla="*/ 3741132 w 3857787"/>
              <a:gd name="connsiteY4" fmla="*/ 666847 h 3702499"/>
              <a:gd name="connsiteX5" fmla="*/ 3201487 w 3857787"/>
              <a:gd name="connsiteY5" fmla="*/ 1768622 h 3702499"/>
              <a:gd name="connsiteX6" fmla="*/ 2685413 w 3857787"/>
              <a:gd name="connsiteY6" fmla="*/ 2510853 h 3702499"/>
              <a:gd name="connsiteX7" fmla="*/ 1723654 w 3857787"/>
              <a:gd name="connsiteY7" fmla="*/ 3426471 h 3702499"/>
              <a:gd name="connsiteX8" fmla="*/ 773298 w 3857787"/>
              <a:gd name="connsiteY8" fmla="*/ 3691058 h 3702499"/>
              <a:gd name="connsiteX9" fmla="*/ 0 w 3857787"/>
              <a:gd name="connsiteY9" fmla="*/ 2797405 h 3702499"/>
              <a:gd name="connsiteX10" fmla="*/ 269701 w 3857787"/>
              <a:gd name="connsiteY10" fmla="*/ 1796447 h 3702499"/>
              <a:gd name="connsiteX0" fmla="*/ 269701 w 3201487"/>
              <a:gd name="connsiteY0" fmla="*/ 1796447 h 3702499"/>
              <a:gd name="connsiteX1" fmla="*/ 121008 w 3201487"/>
              <a:gd name="connsiteY1" fmla="*/ 860851 h 3702499"/>
              <a:gd name="connsiteX2" fmla="*/ 396165 w 3201487"/>
              <a:gd name="connsiteY2" fmla="*/ 471658 h 3702499"/>
              <a:gd name="connsiteX3" fmla="*/ 766346 w 3201487"/>
              <a:gd name="connsiteY3" fmla="*/ 0 h 3702499"/>
              <a:gd name="connsiteX4" fmla="*/ 3201487 w 3201487"/>
              <a:gd name="connsiteY4" fmla="*/ 1768622 h 3702499"/>
              <a:gd name="connsiteX5" fmla="*/ 2685413 w 3201487"/>
              <a:gd name="connsiteY5" fmla="*/ 2510853 h 3702499"/>
              <a:gd name="connsiteX6" fmla="*/ 1723654 w 3201487"/>
              <a:gd name="connsiteY6" fmla="*/ 3426471 h 3702499"/>
              <a:gd name="connsiteX7" fmla="*/ 773298 w 3201487"/>
              <a:gd name="connsiteY7" fmla="*/ 3691058 h 3702499"/>
              <a:gd name="connsiteX8" fmla="*/ 0 w 3201487"/>
              <a:gd name="connsiteY8" fmla="*/ 2797405 h 3702499"/>
              <a:gd name="connsiteX9" fmla="*/ 269701 w 3201487"/>
              <a:gd name="connsiteY9" fmla="*/ 1796447 h 3702499"/>
              <a:gd name="connsiteX0" fmla="*/ 308220 w 3240006"/>
              <a:gd name="connsiteY0" fmla="*/ 1796447 h 3707348"/>
              <a:gd name="connsiteX1" fmla="*/ 159527 w 3240006"/>
              <a:gd name="connsiteY1" fmla="*/ 860851 h 3707348"/>
              <a:gd name="connsiteX2" fmla="*/ 434684 w 3240006"/>
              <a:gd name="connsiteY2" fmla="*/ 471658 h 3707348"/>
              <a:gd name="connsiteX3" fmla="*/ 804865 w 3240006"/>
              <a:gd name="connsiteY3" fmla="*/ 0 h 3707348"/>
              <a:gd name="connsiteX4" fmla="*/ 3240006 w 3240006"/>
              <a:gd name="connsiteY4" fmla="*/ 1768622 h 3707348"/>
              <a:gd name="connsiteX5" fmla="*/ 2723932 w 3240006"/>
              <a:gd name="connsiteY5" fmla="*/ 2510853 h 3707348"/>
              <a:gd name="connsiteX6" fmla="*/ 1762173 w 3240006"/>
              <a:gd name="connsiteY6" fmla="*/ 3426471 h 3707348"/>
              <a:gd name="connsiteX7" fmla="*/ 811817 w 3240006"/>
              <a:gd name="connsiteY7" fmla="*/ 3691058 h 3707348"/>
              <a:gd name="connsiteX8" fmla="*/ 86243 w 3240006"/>
              <a:gd name="connsiteY8" fmla="*/ 3050773 h 3707348"/>
              <a:gd name="connsiteX9" fmla="*/ 38519 w 3240006"/>
              <a:gd name="connsiteY9" fmla="*/ 2797405 h 3707348"/>
              <a:gd name="connsiteX10" fmla="*/ 308220 w 3240006"/>
              <a:gd name="connsiteY10" fmla="*/ 1796447 h 3707348"/>
              <a:gd name="connsiteX0" fmla="*/ 279031 w 3210817"/>
              <a:gd name="connsiteY0" fmla="*/ 1796447 h 3707348"/>
              <a:gd name="connsiteX1" fmla="*/ 130338 w 3210817"/>
              <a:gd name="connsiteY1" fmla="*/ 860851 h 3707348"/>
              <a:gd name="connsiteX2" fmla="*/ 405495 w 3210817"/>
              <a:gd name="connsiteY2" fmla="*/ 471658 h 3707348"/>
              <a:gd name="connsiteX3" fmla="*/ 775676 w 3210817"/>
              <a:gd name="connsiteY3" fmla="*/ 0 h 3707348"/>
              <a:gd name="connsiteX4" fmla="*/ 3210817 w 3210817"/>
              <a:gd name="connsiteY4" fmla="*/ 1768622 h 3707348"/>
              <a:gd name="connsiteX5" fmla="*/ 2694743 w 3210817"/>
              <a:gd name="connsiteY5" fmla="*/ 2510853 h 3707348"/>
              <a:gd name="connsiteX6" fmla="*/ 1732984 w 3210817"/>
              <a:gd name="connsiteY6" fmla="*/ 3426471 h 3707348"/>
              <a:gd name="connsiteX7" fmla="*/ 782628 w 3210817"/>
              <a:gd name="connsiteY7" fmla="*/ 3691058 h 3707348"/>
              <a:gd name="connsiteX8" fmla="*/ 57054 w 3210817"/>
              <a:gd name="connsiteY8" fmla="*/ 3050773 h 3707348"/>
              <a:gd name="connsiteX9" fmla="*/ 9330 w 3210817"/>
              <a:gd name="connsiteY9" fmla="*/ 2797405 h 3707348"/>
              <a:gd name="connsiteX10" fmla="*/ 279031 w 3210817"/>
              <a:gd name="connsiteY10" fmla="*/ 1796447 h 3707348"/>
              <a:gd name="connsiteX0" fmla="*/ 269702 w 3201488"/>
              <a:gd name="connsiteY0" fmla="*/ 1796447 h 3707348"/>
              <a:gd name="connsiteX1" fmla="*/ 121009 w 3201488"/>
              <a:gd name="connsiteY1" fmla="*/ 860851 h 3707348"/>
              <a:gd name="connsiteX2" fmla="*/ 396166 w 3201488"/>
              <a:gd name="connsiteY2" fmla="*/ 471658 h 3707348"/>
              <a:gd name="connsiteX3" fmla="*/ 766347 w 3201488"/>
              <a:gd name="connsiteY3" fmla="*/ 0 h 3707348"/>
              <a:gd name="connsiteX4" fmla="*/ 3201488 w 3201488"/>
              <a:gd name="connsiteY4" fmla="*/ 1768622 h 3707348"/>
              <a:gd name="connsiteX5" fmla="*/ 2685414 w 3201488"/>
              <a:gd name="connsiteY5" fmla="*/ 2510853 h 3707348"/>
              <a:gd name="connsiteX6" fmla="*/ 1723655 w 3201488"/>
              <a:gd name="connsiteY6" fmla="*/ 3426471 h 3707348"/>
              <a:gd name="connsiteX7" fmla="*/ 773299 w 3201488"/>
              <a:gd name="connsiteY7" fmla="*/ 3691058 h 3707348"/>
              <a:gd name="connsiteX8" fmla="*/ 47725 w 3201488"/>
              <a:gd name="connsiteY8" fmla="*/ 3050773 h 3707348"/>
              <a:gd name="connsiteX9" fmla="*/ 1 w 3201488"/>
              <a:gd name="connsiteY9" fmla="*/ 2797405 h 3707348"/>
              <a:gd name="connsiteX10" fmla="*/ 269702 w 3201488"/>
              <a:gd name="connsiteY10" fmla="*/ 1796447 h 3707348"/>
              <a:gd name="connsiteX0" fmla="*/ 269702 w 3201488"/>
              <a:gd name="connsiteY0" fmla="*/ 1796447 h 3440743"/>
              <a:gd name="connsiteX1" fmla="*/ 121009 w 3201488"/>
              <a:gd name="connsiteY1" fmla="*/ 860851 h 3440743"/>
              <a:gd name="connsiteX2" fmla="*/ 396166 w 3201488"/>
              <a:gd name="connsiteY2" fmla="*/ 471658 h 3440743"/>
              <a:gd name="connsiteX3" fmla="*/ 766347 w 3201488"/>
              <a:gd name="connsiteY3" fmla="*/ 0 h 3440743"/>
              <a:gd name="connsiteX4" fmla="*/ 3201488 w 3201488"/>
              <a:gd name="connsiteY4" fmla="*/ 1768622 h 3440743"/>
              <a:gd name="connsiteX5" fmla="*/ 2685414 w 3201488"/>
              <a:gd name="connsiteY5" fmla="*/ 2510853 h 3440743"/>
              <a:gd name="connsiteX6" fmla="*/ 1723655 w 3201488"/>
              <a:gd name="connsiteY6" fmla="*/ 3426471 h 3440743"/>
              <a:gd name="connsiteX7" fmla="*/ 47725 w 3201488"/>
              <a:gd name="connsiteY7" fmla="*/ 3050773 h 3440743"/>
              <a:gd name="connsiteX8" fmla="*/ 1 w 3201488"/>
              <a:gd name="connsiteY8" fmla="*/ 2797405 h 3440743"/>
              <a:gd name="connsiteX9" fmla="*/ 269702 w 3201488"/>
              <a:gd name="connsiteY9" fmla="*/ 1796447 h 3440743"/>
              <a:gd name="connsiteX0" fmla="*/ 269702 w 3201488"/>
              <a:gd name="connsiteY0" fmla="*/ 1796447 h 3440743"/>
              <a:gd name="connsiteX1" fmla="*/ 121009 w 3201488"/>
              <a:gd name="connsiteY1" fmla="*/ 860851 h 3440743"/>
              <a:gd name="connsiteX2" fmla="*/ 396166 w 3201488"/>
              <a:gd name="connsiteY2" fmla="*/ 471658 h 3440743"/>
              <a:gd name="connsiteX3" fmla="*/ 766347 w 3201488"/>
              <a:gd name="connsiteY3" fmla="*/ 0 h 3440743"/>
              <a:gd name="connsiteX4" fmla="*/ 3201488 w 3201488"/>
              <a:gd name="connsiteY4" fmla="*/ 1768622 h 3440743"/>
              <a:gd name="connsiteX5" fmla="*/ 2685414 w 3201488"/>
              <a:gd name="connsiteY5" fmla="*/ 2510853 h 3440743"/>
              <a:gd name="connsiteX6" fmla="*/ 1723655 w 3201488"/>
              <a:gd name="connsiteY6" fmla="*/ 3426471 h 3440743"/>
              <a:gd name="connsiteX7" fmla="*/ 47725 w 3201488"/>
              <a:gd name="connsiteY7" fmla="*/ 3050773 h 3440743"/>
              <a:gd name="connsiteX8" fmla="*/ 1 w 3201488"/>
              <a:gd name="connsiteY8" fmla="*/ 2797405 h 3440743"/>
              <a:gd name="connsiteX9" fmla="*/ 269702 w 3201488"/>
              <a:gd name="connsiteY9" fmla="*/ 1796447 h 3440743"/>
              <a:gd name="connsiteX0" fmla="*/ 269702 w 3201488"/>
              <a:gd name="connsiteY0" fmla="*/ 1796447 h 3440743"/>
              <a:gd name="connsiteX1" fmla="*/ 121009 w 3201488"/>
              <a:gd name="connsiteY1" fmla="*/ 860851 h 3440743"/>
              <a:gd name="connsiteX2" fmla="*/ 396166 w 3201488"/>
              <a:gd name="connsiteY2" fmla="*/ 471658 h 3440743"/>
              <a:gd name="connsiteX3" fmla="*/ 766347 w 3201488"/>
              <a:gd name="connsiteY3" fmla="*/ 0 h 3440743"/>
              <a:gd name="connsiteX4" fmla="*/ 3201488 w 3201488"/>
              <a:gd name="connsiteY4" fmla="*/ 1768622 h 3440743"/>
              <a:gd name="connsiteX5" fmla="*/ 2685414 w 3201488"/>
              <a:gd name="connsiteY5" fmla="*/ 2510853 h 3440743"/>
              <a:gd name="connsiteX6" fmla="*/ 1723655 w 3201488"/>
              <a:gd name="connsiteY6" fmla="*/ 3426471 h 3440743"/>
              <a:gd name="connsiteX7" fmla="*/ 47725 w 3201488"/>
              <a:gd name="connsiteY7" fmla="*/ 3050773 h 3440743"/>
              <a:gd name="connsiteX8" fmla="*/ 1 w 3201488"/>
              <a:gd name="connsiteY8" fmla="*/ 2797405 h 3440743"/>
              <a:gd name="connsiteX9" fmla="*/ 269702 w 3201488"/>
              <a:gd name="connsiteY9" fmla="*/ 1796447 h 3440743"/>
              <a:gd name="connsiteX0" fmla="*/ 269702 w 3201488"/>
              <a:gd name="connsiteY0" fmla="*/ 1796447 h 3103946"/>
              <a:gd name="connsiteX1" fmla="*/ 121009 w 3201488"/>
              <a:gd name="connsiteY1" fmla="*/ 860851 h 3103946"/>
              <a:gd name="connsiteX2" fmla="*/ 396166 w 3201488"/>
              <a:gd name="connsiteY2" fmla="*/ 471658 h 3103946"/>
              <a:gd name="connsiteX3" fmla="*/ 766347 w 3201488"/>
              <a:gd name="connsiteY3" fmla="*/ 0 h 3103946"/>
              <a:gd name="connsiteX4" fmla="*/ 3201488 w 3201488"/>
              <a:gd name="connsiteY4" fmla="*/ 1768622 h 3103946"/>
              <a:gd name="connsiteX5" fmla="*/ 2685414 w 3201488"/>
              <a:gd name="connsiteY5" fmla="*/ 2510853 h 3103946"/>
              <a:gd name="connsiteX6" fmla="*/ 1659382 w 3201488"/>
              <a:gd name="connsiteY6" fmla="*/ 2997986 h 3103946"/>
              <a:gd name="connsiteX7" fmla="*/ 47725 w 3201488"/>
              <a:gd name="connsiteY7" fmla="*/ 3050773 h 3103946"/>
              <a:gd name="connsiteX8" fmla="*/ 1 w 3201488"/>
              <a:gd name="connsiteY8" fmla="*/ 2797405 h 3103946"/>
              <a:gd name="connsiteX9" fmla="*/ 269702 w 3201488"/>
              <a:gd name="connsiteY9" fmla="*/ 1796447 h 3103946"/>
              <a:gd name="connsiteX0" fmla="*/ 269702 w 3201488"/>
              <a:gd name="connsiteY0" fmla="*/ 1796447 h 3120616"/>
              <a:gd name="connsiteX1" fmla="*/ 121009 w 3201488"/>
              <a:gd name="connsiteY1" fmla="*/ 860851 h 3120616"/>
              <a:gd name="connsiteX2" fmla="*/ 396166 w 3201488"/>
              <a:gd name="connsiteY2" fmla="*/ 471658 h 3120616"/>
              <a:gd name="connsiteX3" fmla="*/ 766347 w 3201488"/>
              <a:gd name="connsiteY3" fmla="*/ 0 h 3120616"/>
              <a:gd name="connsiteX4" fmla="*/ 3201488 w 3201488"/>
              <a:gd name="connsiteY4" fmla="*/ 1768622 h 3120616"/>
              <a:gd name="connsiteX5" fmla="*/ 2685414 w 3201488"/>
              <a:gd name="connsiteY5" fmla="*/ 2510853 h 3120616"/>
              <a:gd name="connsiteX6" fmla="*/ 2173564 w 3201488"/>
              <a:gd name="connsiteY6" fmla="*/ 3043512 h 3120616"/>
              <a:gd name="connsiteX7" fmla="*/ 47725 w 3201488"/>
              <a:gd name="connsiteY7" fmla="*/ 3050773 h 3120616"/>
              <a:gd name="connsiteX8" fmla="*/ 1 w 3201488"/>
              <a:gd name="connsiteY8" fmla="*/ 2797405 h 3120616"/>
              <a:gd name="connsiteX9" fmla="*/ 269702 w 3201488"/>
              <a:gd name="connsiteY9" fmla="*/ 1796447 h 3120616"/>
              <a:gd name="connsiteX0" fmla="*/ 269702 w 3201488"/>
              <a:gd name="connsiteY0" fmla="*/ 1796447 h 3096463"/>
              <a:gd name="connsiteX1" fmla="*/ 121009 w 3201488"/>
              <a:gd name="connsiteY1" fmla="*/ 860851 h 3096463"/>
              <a:gd name="connsiteX2" fmla="*/ 396166 w 3201488"/>
              <a:gd name="connsiteY2" fmla="*/ 471658 h 3096463"/>
              <a:gd name="connsiteX3" fmla="*/ 766347 w 3201488"/>
              <a:gd name="connsiteY3" fmla="*/ 0 h 3096463"/>
              <a:gd name="connsiteX4" fmla="*/ 3201488 w 3201488"/>
              <a:gd name="connsiteY4" fmla="*/ 1768622 h 3096463"/>
              <a:gd name="connsiteX5" fmla="*/ 2685414 w 3201488"/>
              <a:gd name="connsiteY5" fmla="*/ 2510853 h 3096463"/>
              <a:gd name="connsiteX6" fmla="*/ 2173564 w 3201488"/>
              <a:gd name="connsiteY6" fmla="*/ 3043512 h 3096463"/>
              <a:gd name="connsiteX7" fmla="*/ 47725 w 3201488"/>
              <a:gd name="connsiteY7" fmla="*/ 3050773 h 3096463"/>
              <a:gd name="connsiteX8" fmla="*/ 1 w 3201488"/>
              <a:gd name="connsiteY8" fmla="*/ 2797405 h 3096463"/>
              <a:gd name="connsiteX9" fmla="*/ 269702 w 3201488"/>
              <a:gd name="connsiteY9" fmla="*/ 1796447 h 3096463"/>
              <a:gd name="connsiteX0" fmla="*/ 269702 w 3201488"/>
              <a:gd name="connsiteY0" fmla="*/ 1796447 h 3096463"/>
              <a:gd name="connsiteX1" fmla="*/ 121009 w 3201488"/>
              <a:gd name="connsiteY1" fmla="*/ 860851 h 3096463"/>
              <a:gd name="connsiteX2" fmla="*/ 396166 w 3201488"/>
              <a:gd name="connsiteY2" fmla="*/ 471658 h 3096463"/>
              <a:gd name="connsiteX3" fmla="*/ 766347 w 3201488"/>
              <a:gd name="connsiteY3" fmla="*/ 0 h 3096463"/>
              <a:gd name="connsiteX4" fmla="*/ 3201488 w 3201488"/>
              <a:gd name="connsiteY4" fmla="*/ 1768622 h 3096463"/>
              <a:gd name="connsiteX5" fmla="*/ 2685414 w 3201488"/>
              <a:gd name="connsiteY5" fmla="*/ 2510853 h 3096463"/>
              <a:gd name="connsiteX6" fmla="*/ 2173564 w 3201488"/>
              <a:gd name="connsiteY6" fmla="*/ 3043512 h 3096463"/>
              <a:gd name="connsiteX7" fmla="*/ 47725 w 3201488"/>
              <a:gd name="connsiteY7" fmla="*/ 3050773 h 3096463"/>
              <a:gd name="connsiteX8" fmla="*/ 1 w 3201488"/>
              <a:gd name="connsiteY8" fmla="*/ 2797405 h 3096463"/>
              <a:gd name="connsiteX9" fmla="*/ 269702 w 3201488"/>
              <a:gd name="connsiteY9" fmla="*/ 1796447 h 3096463"/>
              <a:gd name="connsiteX0" fmla="*/ 269702 w 3201488"/>
              <a:gd name="connsiteY0" fmla="*/ 1796447 h 3057286"/>
              <a:gd name="connsiteX1" fmla="*/ 121009 w 3201488"/>
              <a:gd name="connsiteY1" fmla="*/ 860851 h 3057286"/>
              <a:gd name="connsiteX2" fmla="*/ 396166 w 3201488"/>
              <a:gd name="connsiteY2" fmla="*/ 471658 h 3057286"/>
              <a:gd name="connsiteX3" fmla="*/ 766347 w 3201488"/>
              <a:gd name="connsiteY3" fmla="*/ 0 h 3057286"/>
              <a:gd name="connsiteX4" fmla="*/ 3201488 w 3201488"/>
              <a:gd name="connsiteY4" fmla="*/ 1768622 h 3057286"/>
              <a:gd name="connsiteX5" fmla="*/ 2685414 w 3201488"/>
              <a:gd name="connsiteY5" fmla="*/ 2510853 h 3057286"/>
              <a:gd name="connsiteX6" fmla="*/ 2173564 w 3201488"/>
              <a:gd name="connsiteY6" fmla="*/ 3043512 h 3057286"/>
              <a:gd name="connsiteX7" fmla="*/ 47725 w 3201488"/>
              <a:gd name="connsiteY7" fmla="*/ 3050773 h 3057286"/>
              <a:gd name="connsiteX8" fmla="*/ 1 w 3201488"/>
              <a:gd name="connsiteY8" fmla="*/ 2797405 h 3057286"/>
              <a:gd name="connsiteX9" fmla="*/ 269702 w 3201488"/>
              <a:gd name="connsiteY9" fmla="*/ 1796447 h 3057286"/>
              <a:gd name="connsiteX0" fmla="*/ 269702 w 3201488"/>
              <a:gd name="connsiteY0" fmla="*/ 1796447 h 3050773"/>
              <a:gd name="connsiteX1" fmla="*/ 121009 w 3201488"/>
              <a:gd name="connsiteY1" fmla="*/ 860851 h 3050773"/>
              <a:gd name="connsiteX2" fmla="*/ 396166 w 3201488"/>
              <a:gd name="connsiteY2" fmla="*/ 471658 h 3050773"/>
              <a:gd name="connsiteX3" fmla="*/ 766347 w 3201488"/>
              <a:gd name="connsiteY3" fmla="*/ 0 h 3050773"/>
              <a:gd name="connsiteX4" fmla="*/ 3201488 w 3201488"/>
              <a:gd name="connsiteY4" fmla="*/ 1768622 h 3050773"/>
              <a:gd name="connsiteX5" fmla="*/ 2685414 w 3201488"/>
              <a:gd name="connsiteY5" fmla="*/ 2510853 h 3050773"/>
              <a:gd name="connsiteX6" fmla="*/ 2173564 w 3201488"/>
              <a:gd name="connsiteY6" fmla="*/ 3043512 h 3050773"/>
              <a:gd name="connsiteX7" fmla="*/ 47725 w 3201488"/>
              <a:gd name="connsiteY7" fmla="*/ 3050773 h 3050773"/>
              <a:gd name="connsiteX8" fmla="*/ 1 w 3201488"/>
              <a:gd name="connsiteY8" fmla="*/ 2797405 h 3050773"/>
              <a:gd name="connsiteX9" fmla="*/ 269702 w 3201488"/>
              <a:gd name="connsiteY9" fmla="*/ 1796447 h 3050773"/>
              <a:gd name="connsiteX0" fmla="*/ 269702 w 3246310"/>
              <a:gd name="connsiteY0" fmla="*/ 1796447 h 3139276"/>
              <a:gd name="connsiteX1" fmla="*/ 121009 w 3246310"/>
              <a:gd name="connsiteY1" fmla="*/ 860851 h 3139276"/>
              <a:gd name="connsiteX2" fmla="*/ 396166 w 3246310"/>
              <a:gd name="connsiteY2" fmla="*/ 471658 h 3139276"/>
              <a:gd name="connsiteX3" fmla="*/ 766347 w 3246310"/>
              <a:gd name="connsiteY3" fmla="*/ 0 h 3139276"/>
              <a:gd name="connsiteX4" fmla="*/ 3201488 w 3246310"/>
              <a:gd name="connsiteY4" fmla="*/ 1768622 h 3139276"/>
              <a:gd name="connsiteX5" fmla="*/ 2173564 w 3246310"/>
              <a:gd name="connsiteY5" fmla="*/ 3043512 h 3139276"/>
              <a:gd name="connsiteX6" fmla="*/ 47725 w 3246310"/>
              <a:gd name="connsiteY6" fmla="*/ 3050773 h 3139276"/>
              <a:gd name="connsiteX7" fmla="*/ 1 w 3246310"/>
              <a:gd name="connsiteY7" fmla="*/ 2797405 h 3139276"/>
              <a:gd name="connsiteX8" fmla="*/ 269702 w 3246310"/>
              <a:gd name="connsiteY8" fmla="*/ 1796447 h 3139276"/>
              <a:gd name="connsiteX0" fmla="*/ 269702 w 3246310"/>
              <a:gd name="connsiteY0" fmla="*/ 1357189 h 2700018"/>
              <a:gd name="connsiteX1" fmla="*/ 121009 w 3246310"/>
              <a:gd name="connsiteY1" fmla="*/ 421593 h 2700018"/>
              <a:gd name="connsiteX2" fmla="*/ 396166 w 3246310"/>
              <a:gd name="connsiteY2" fmla="*/ 32400 h 2700018"/>
              <a:gd name="connsiteX3" fmla="*/ 2172314 w 3246310"/>
              <a:gd name="connsiteY3" fmla="*/ 53500 h 2700018"/>
              <a:gd name="connsiteX4" fmla="*/ 3201488 w 3246310"/>
              <a:gd name="connsiteY4" fmla="*/ 1329364 h 2700018"/>
              <a:gd name="connsiteX5" fmla="*/ 2173564 w 3246310"/>
              <a:gd name="connsiteY5" fmla="*/ 2604254 h 2700018"/>
              <a:gd name="connsiteX6" fmla="*/ 47725 w 3246310"/>
              <a:gd name="connsiteY6" fmla="*/ 2611515 h 2700018"/>
              <a:gd name="connsiteX7" fmla="*/ 1 w 3246310"/>
              <a:gd name="connsiteY7" fmla="*/ 2358147 h 2700018"/>
              <a:gd name="connsiteX8" fmla="*/ 269702 w 3246310"/>
              <a:gd name="connsiteY8" fmla="*/ 1357189 h 2700018"/>
              <a:gd name="connsiteX0" fmla="*/ 269702 w 3246310"/>
              <a:gd name="connsiteY0" fmla="*/ 1382806 h 2725635"/>
              <a:gd name="connsiteX1" fmla="*/ 121009 w 3246310"/>
              <a:gd name="connsiteY1" fmla="*/ 447210 h 2725635"/>
              <a:gd name="connsiteX2" fmla="*/ 396166 w 3246310"/>
              <a:gd name="connsiteY2" fmla="*/ 58017 h 2725635"/>
              <a:gd name="connsiteX3" fmla="*/ 2172314 w 3246310"/>
              <a:gd name="connsiteY3" fmla="*/ 79117 h 2725635"/>
              <a:gd name="connsiteX4" fmla="*/ 3201488 w 3246310"/>
              <a:gd name="connsiteY4" fmla="*/ 1354981 h 2725635"/>
              <a:gd name="connsiteX5" fmla="*/ 2173564 w 3246310"/>
              <a:gd name="connsiteY5" fmla="*/ 2629871 h 2725635"/>
              <a:gd name="connsiteX6" fmla="*/ 47725 w 3246310"/>
              <a:gd name="connsiteY6" fmla="*/ 2637132 h 2725635"/>
              <a:gd name="connsiteX7" fmla="*/ 1 w 3246310"/>
              <a:gd name="connsiteY7" fmla="*/ 2383764 h 2725635"/>
              <a:gd name="connsiteX8" fmla="*/ 269702 w 3246310"/>
              <a:gd name="connsiteY8" fmla="*/ 1382806 h 2725635"/>
              <a:gd name="connsiteX0" fmla="*/ 269702 w 3246310"/>
              <a:gd name="connsiteY0" fmla="*/ 1324855 h 2667684"/>
              <a:gd name="connsiteX1" fmla="*/ 121009 w 3246310"/>
              <a:gd name="connsiteY1" fmla="*/ 389259 h 2667684"/>
              <a:gd name="connsiteX2" fmla="*/ 396166 w 3246310"/>
              <a:gd name="connsiteY2" fmla="*/ 66 h 2667684"/>
              <a:gd name="connsiteX3" fmla="*/ 2172314 w 3246310"/>
              <a:gd name="connsiteY3" fmla="*/ 21166 h 2667684"/>
              <a:gd name="connsiteX4" fmla="*/ 3201488 w 3246310"/>
              <a:gd name="connsiteY4" fmla="*/ 1297030 h 2667684"/>
              <a:gd name="connsiteX5" fmla="*/ 2173564 w 3246310"/>
              <a:gd name="connsiteY5" fmla="*/ 2571920 h 2667684"/>
              <a:gd name="connsiteX6" fmla="*/ 47725 w 3246310"/>
              <a:gd name="connsiteY6" fmla="*/ 2579181 h 2667684"/>
              <a:gd name="connsiteX7" fmla="*/ 1 w 3246310"/>
              <a:gd name="connsiteY7" fmla="*/ 2325813 h 2667684"/>
              <a:gd name="connsiteX8" fmla="*/ 269702 w 3246310"/>
              <a:gd name="connsiteY8" fmla="*/ 1324855 h 2667684"/>
              <a:gd name="connsiteX0" fmla="*/ 269702 w 2417336"/>
              <a:gd name="connsiteY0" fmla="*/ 1324855 h 2762188"/>
              <a:gd name="connsiteX1" fmla="*/ 121009 w 2417336"/>
              <a:gd name="connsiteY1" fmla="*/ 389259 h 2762188"/>
              <a:gd name="connsiteX2" fmla="*/ 396166 w 2417336"/>
              <a:gd name="connsiteY2" fmla="*/ 66 h 2762188"/>
              <a:gd name="connsiteX3" fmla="*/ 2172314 w 2417336"/>
              <a:gd name="connsiteY3" fmla="*/ 21166 h 2762188"/>
              <a:gd name="connsiteX4" fmla="*/ 2173564 w 2417336"/>
              <a:gd name="connsiteY4" fmla="*/ 2571920 h 2762188"/>
              <a:gd name="connsiteX5" fmla="*/ 47725 w 2417336"/>
              <a:gd name="connsiteY5" fmla="*/ 2579181 h 2762188"/>
              <a:gd name="connsiteX6" fmla="*/ 1 w 2417336"/>
              <a:gd name="connsiteY6" fmla="*/ 2325813 h 2762188"/>
              <a:gd name="connsiteX7" fmla="*/ 269702 w 2417336"/>
              <a:gd name="connsiteY7" fmla="*/ 1324855 h 2762188"/>
              <a:gd name="connsiteX0" fmla="*/ 269702 w 2330389"/>
              <a:gd name="connsiteY0" fmla="*/ 1324855 h 2762188"/>
              <a:gd name="connsiteX1" fmla="*/ 121009 w 2330389"/>
              <a:gd name="connsiteY1" fmla="*/ 389259 h 2762188"/>
              <a:gd name="connsiteX2" fmla="*/ 396166 w 2330389"/>
              <a:gd name="connsiteY2" fmla="*/ 66 h 2762188"/>
              <a:gd name="connsiteX3" fmla="*/ 2172314 w 2330389"/>
              <a:gd name="connsiteY3" fmla="*/ 21166 h 2762188"/>
              <a:gd name="connsiteX4" fmla="*/ 2173564 w 2330389"/>
              <a:gd name="connsiteY4" fmla="*/ 2571920 h 2762188"/>
              <a:gd name="connsiteX5" fmla="*/ 47725 w 2330389"/>
              <a:gd name="connsiteY5" fmla="*/ 2579181 h 2762188"/>
              <a:gd name="connsiteX6" fmla="*/ 1 w 2330389"/>
              <a:gd name="connsiteY6" fmla="*/ 2325813 h 2762188"/>
              <a:gd name="connsiteX7" fmla="*/ 269702 w 2330389"/>
              <a:gd name="connsiteY7" fmla="*/ 1324855 h 2762188"/>
              <a:gd name="connsiteX0" fmla="*/ 269702 w 2174610"/>
              <a:gd name="connsiteY0" fmla="*/ 1324855 h 2611989"/>
              <a:gd name="connsiteX1" fmla="*/ 121009 w 2174610"/>
              <a:gd name="connsiteY1" fmla="*/ 389259 h 2611989"/>
              <a:gd name="connsiteX2" fmla="*/ 396166 w 2174610"/>
              <a:gd name="connsiteY2" fmla="*/ 66 h 2611989"/>
              <a:gd name="connsiteX3" fmla="*/ 2172314 w 2174610"/>
              <a:gd name="connsiteY3" fmla="*/ 21166 h 2611989"/>
              <a:gd name="connsiteX4" fmla="*/ 2173564 w 2174610"/>
              <a:gd name="connsiteY4" fmla="*/ 2571920 h 2611989"/>
              <a:gd name="connsiteX5" fmla="*/ 47725 w 2174610"/>
              <a:gd name="connsiteY5" fmla="*/ 2579181 h 2611989"/>
              <a:gd name="connsiteX6" fmla="*/ 1 w 2174610"/>
              <a:gd name="connsiteY6" fmla="*/ 2325813 h 2611989"/>
              <a:gd name="connsiteX7" fmla="*/ 269702 w 2174610"/>
              <a:gd name="connsiteY7" fmla="*/ 1324855 h 2611989"/>
              <a:gd name="connsiteX0" fmla="*/ 269702 w 2174610"/>
              <a:gd name="connsiteY0" fmla="*/ 1324855 h 2611989"/>
              <a:gd name="connsiteX1" fmla="*/ 121009 w 2174610"/>
              <a:gd name="connsiteY1" fmla="*/ 389259 h 2611989"/>
              <a:gd name="connsiteX2" fmla="*/ 396166 w 2174610"/>
              <a:gd name="connsiteY2" fmla="*/ 66 h 2611989"/>
              <a:gd name="connsiteX3" fmla="*/ 2172314 w 2174610"/>
              <a:gd name="connsiteY3" fmla="*/ 21166 h 2611989"/>
              <a:gd name="connsiteX4" fmla="*/ 2173564 w 2174610"/>
              <a:gd name="connsiteY4" fmla="*/ 2571920 h 2611989"/>
              <a:gd name="connsiteX5" fmla="*/ 47725 w 2174610"/>
              <a:gd name="connsiteY5" fmla="*/ 2579181 h 2611989"/>
              <a:gd name="connsiteX6" fmla="*/ 1 w 2174610"/>
              <a:gd name="connsiteY6" fmla="*/ 2325813 h 2611989"/>
              <a:gd name="connsiteX7" fmla="*/ 269702 w 2174610"/>
              <a:gd name="connsiteY7" fmla="*/ 1324855 h 2611989"/>
              <a:gd name="connsiteX0" fmla="*/ 269702 w 2174610"/>
              <a:gd name="connsiteY0" fmla="*/ 1324855 h 2579181"/>
              <a:gd name="connsiteX1" fmla="*/ 121009 w 2174610"/>
              <a:gd name="connsiteY1" fmla="*/ 389259 h 2579181"/>
              <a:gd name="connsiteX2" fmla="*/ 396166 w 2174610"/>
              <a:gd name="connsiteY2" fmla="*/ 66 h 2579181"/>
              <a:gd name="connsiteX3" fmla="*/ 2172314 w 2174610"/>
              <a:gd name="connsiteY3" fmla="*/ 21166 h 2579181"/>
              <a:gd name="connsiteX4" fmla="*/ 2173564 w 2174610"/>
              <a:gd name="connsiteY4" fmla="*/ 2571920 h 2579181"/>
              <a:gd name="connsiteX5" fmla="*/ 47725 w 2174610"/>
              <a:gd name="connsiteY5" fmla="*/ 2579181 h 2579181"/>
              <a:gd name="connsiteX6" fmla="*/ 1 w 2174610"/>
              <a:gd name="connsiteY6" fmla="*/ 2325813 h 2579181"/>
              <a:gd name="connsiteX7" fmla="*/ 269702 w 2174610"/>
              <a:gd name="connsiteY7" fmla="*/ 1324855 h 2579181"/>
              <a:gd name="connsiteX0" fmla="*/ 269702 w 2174610"/>
              <a:gd name="connsiteY0" fmla="*/ 1324855 h 2579181"/>
              <a:gd name="connsiteX1" fmla="*/ 121009 w 2174610"/>
              <a:gd name="connsiteY1" fmla="*/ 389259 h 2579181"/>
              <a:gd name="connsiteX2" fmla="*/ 396166 w 2174610"/>
              <a:gd name="connsiteY2" fmla="*/ 66 h 2579181"/>
              <a:gd name="connsiteX3" fmla="*/ 2172314 w 2174610"/>
              <a:gd name="connsiteY3" fmla="*/ 21166 h 2579181"/>
              <a:gd name="connsiteX4" fmla="*/ 2173564 w 2174610"/>
              <a:gd name="connsiteY4" fmla="*/ 2571920 h 2579181"/>
              <a:gd name="connsiteX5" fmla="*/ 1499987 w 2174610"/>
              <a:gd name="connsiteY5" fmla="*/ 2573804 h 2579181"/>
              <a:gd name="connsiteX6" fmla="*/ 47725 w 2174610"/>
              <a:gd name="connsiteY6" fmla="*/ 2579181 h 2579181"/>
              <a:gd name="connsiteX7" fmla="*/ 1 w 2174610"/>
              <a:gd name="connsiteY7" fmla="*/ 2325813 h 2579181"/>
              <a:gd name="connsiteX8" fmla="*/ 269702 w 2174610"/>
              <a:gd name="connsiteY8" fmla="*/ 1324855 h 2579181"/>
              <a:gd name="connsiteX0" fmla="*/ 269702 w 2174610"/>
              <a:gd name="connsiteY0" fmla="*/ 1324855 h 2579181"/>
              <a:gd name="connsiteX1" fmla="*/ 121009 w 2174610"/>
              <a:gd name="connsiteY1" fmla="*/ 389259 h 2579181"/>
              <a:gd name="connsiteX2" fmla="*/ 396166 w 2174610"/>
              <a:gd name="connsiteY2" fmla="*/ 66 h 2579181"/>
              <a:gd name="connsiteX3" fmla="*/ 2172314 w 2174610"/>
              <a:gd name="connsiteY3" fmla="*/ 21166 h 2579181"/>
              <a:gd name="connsiteX4" fmla="*/ 2173564 w 2174610"/>
              <a:gd name="connsiteY4" fmla="*/ 2571920 h 2579181"/>
              <a:gd name="connsiteX5" fmla="*/ 1415619 w 2174610"/>
              <a:gd name="connsiteY5" fmla="*/ 2576440 h 2579181"/>
              <a:gd name="connsiteX6" fmla="*/ 47725 w 2174610"/>
              <a:gd name="connsiteY6" fmla="*/ 2579181 h 2579181"/>
              <a:gd name="connsiteX7" fmla="*/ 1 w 2174610"/>
              <a:gd name="connsiteY7" fmla="*/ 2325813 h 2579181"/>
              <a:gd name="connsiteX8" fmla="*/ 269702 w 2174610"/>
              <a:gd name="connsiteY8" fmla="*/ 1324855 h 2579181"/>
              <a:gd name="connsiteX0" fmla="*/ 269702 w 2174610"/>
              <a:gd name="connsiteY0" fmla="*/ 1324855 h 2579181"/>
              <a:gd name="connsiteX1" fmla="*/ 121009 w 2174610"/>
              <a:gd name="connsiteY1" fmla="*/ 389259 h 2579181"/>
              <a:gd name="connsiteX2" fmla="*/ 396166 w 2174610"/>
              <a:gd name="connsiteY2" fmla="*/ 66 h 2579181"/>
              <a:gd name="connsiteX3" fmla="*/ 2172314 w 2174610"/>
              <a:gd name="connsiteY3" fmla="*/ 21166 h 2579181"/>
              <a:gd name="connsiteX4" fmla="*/ 2173564 w 2174610"/>
              <a:gd name="connsiteY4" fmla="*/ 2571920 h 2579181"/>
              <a:gd name="connsiteX5" fmla="*/ 1502624 w 2174610"/>
              <a:gd name="connsiteY5" fmla="*/ 2571168 h 2579181"/>
              <a:gd name="connsiteX6" fmla="*/ 1415619 w 2174610"/>
              <a:gd name="connsiteY6" fmla="*/ 2576440 h 2579181"/>
              <a:gd name="connsiteX7" fmla="*/ 47725 w 2174610"/>
              <a:gd name="connsiteY7" fmla="*/ 2579181 h 2579181"/>
              <a:gd name="connsiteX8" fmla="*/ 1 w 2174610"/>
              <a:gd name="connsiteY8" fmla="*/ 2325813 h 2579181"/>
              <a:gd name="connsiteX9" fmla="*/ 269702 w 2174610"/>
              <a:gd name="connsiteY9" fmla="*/ 1324855 h 2579181"/>
              <a:gd name="connsiteX0" fmla="*/ 269702 w 2174610"/>
              <a:gd name="connsiteY0" fmla="*/ 1324855 h 2579181"/>
              <a:gd name="connsiteX1" fmla="*/ 121009 w 2174610"/>
              <a:gd name="connsiteY1" fmla="*/ 389259 h 2579181"/>
              <a:gd name="connsiteX2" fmla="*/ 396166 w 2174610"/>
              <a:gd name="connsiteY2" fmla="*/ 66 h 2579181"/>
              <a:gd name="connsiteX3" fmla="*/ 2172314 w 2174610"/>
              <a:gd name="connsiteY3" fmla="*/ 21166 h 2579181"/>
              <a:gd name="connsiteX4" fmla="*/ 2173564 w 2174610"/>
              <a:gd name="connsiteY4" fmla="*/ 2571920 h 2579181"/>
              <a:gd name="connsiteX5" fmla="*/ 1550081 w 2174610"/>
              <a:gd name="connsiteY5" fmla="*/ 2568531 h 2579181"/>
              <a:gd name="connsiteX6" fmla="*/ 1502624 w 2174610"/>
              <a:gd name="connsiteY6" fmla="*/ 2571168 h 2579181"/>
              <a:gd name="connsiteX7" fmla="*/ 1415619 w 2174610"/>
              <a:gd name="connsiteY7" fmla="*/ 2576440 h 2579181"/>
              <a:gd name="connsiteX8" fmla="*/ 47725 w 2174610"/>
              <a:gd name="connsiteY8" fmla="*/ 2579181 h 2579181"/>
              <a:gd name="connsiteX9" fmla="*/ 1 w 2174610"/>
              <a:gd name="connsiteY9" fmla="*/ 2325813 h 2579181"/>
              <a:gd name="connsiteX10" fmla="*/ 269702 w 2174610"/>
              <a:gd name="connsiteY10" fmla="*/ 1324855 h 2579181"/>
              <a:gd name="connsiteX0" fmla="*/ 269702 w 2174610"/>
              <a:gd name="connsiteY0" fmla="*/ 1324855 h 2579181"/>
              <a:gd name="connsiteX1" fmla="*/ 121009 w 2174610"/>
              <a:gd name="connsiteY1" fmla="*/ 389259 h 2579181"/>
              <a:gd name="connsiteX2" fmla="*/ 396166 w 2174610"/>
              <a:gd name="connsiteY2" fmla="*/ 66 h 2579181"/>
              <a:gd name="connsiteX3" fmla="*/ 2172314 w 2174610"/>
              <a:gd name="connsiteY3" fmla="*/ 21166 h 2579181"/>
              <a:gd name="connsiteX4" fmla="*/ 2173564 w 2174610"/>
              <a:gd name="connsiteY4" fmla="*/ 2571920 h 2579181"/>
              <a:gd name="connsiteX5" fmla="*/ 1550081 w 2174610"/>
              <a:gd name="connsiteY5" fmla="*/ 2568531 h 2579181"/>
              <a:gd name="connsiteX6" fmla="*/ 1478895 w 2174610"/>
              <a:gd name="connsiteY6" fmla="*/ 2573804 h 2579181"/>
              <a:gd name="connsiteX7" fmla="*/ 1415619 w 2174610"/>
              <a:gd name="connsiteY7" fmla="*/ 2576440 h 2579181"/>
              <a:gd name="connsiteX8" fmla="*/ 47725 w 2174610"/>
              <a:gd name="connsiteY8" fmla="*/ 2579181 h 2579181"/>
              <a:gd name="connsiteX9" fmla="*/ 1 w 2174610"/>
              <a:gd name="connsiteY9" fmla="*/ 2325813 h 2579181"/>
              <a:gd name="connsiteX10" fmla="*/ 269702 w 2174610"/>
              <a:gd name="connsiteY10" fmla="*/ 1324855 h 2579181"/>
              <a:gd name="connsiteX0" fmla="*/ 269702 w 2174610"/>
              <a:gd name="connsiteY0" fmla="*/ 1324855 h 2579181"/>
              <a:gd name="connsiteX1" fmla="*/ 121009 w 2174610"/>
              <a:gd name="connsiteY1" fmla="*/ 389259 h 2579181"/>
              <a:gd name="connsiteX2" fmla="*/ 396166 w 2174610"/>
              <a:gd name="connsiteY2" fmla="*/ 66 h 2579181"/>
              <a:gd name="connsiteX3" fmla="*/ 2172314 w 2174610"/>
              <a:gd name="connsiteY3" fmla="*/ 21166 h 2579181"/>
              <a:gd name="connsiteX4" fmla="*/ 2173564 w 2174610"/>
              <a:gd name="connsiteY4" fmla="*/ 2571920 h 2579181"/>
              <a:gd name="connsiteX5" fmla="*/ 1513170 w 2174610"/>
              <a:gd name="connsiteY5" fmla="*/ 2573804 h 2579181"/>
              <a:gd name="connsiteX6" fmla="*/ 1478895 w 2174610"/>
              <a:gd name="connsiteY6" fmla="*/ 2573804 h 2579181"/>
              <a:gd name="connsiteX7" fmla="*/ 1415619 w 2174610"/>
              <a:gd name="connsiteY7" fmla="*/ 2576440 h 2579181"/>
              <a:gd name="connsiteX8" fmla="*/ 47725 w 2174610"/>
              <a:gd name="connsiteY8" fmla="*/ 2579181 h 2579181"/>
              <a:gd name="connsiteX9" fmla="*/ 1 w 2174610"/>
              <a:gd name="connsiteY9" fmla="*/ 2325813 h 2579181"/>
              <a:gd name="connsiteX10" fmla="*/ 269702 w 2174610"/>
              <a:gd name="connsiteY10" fmla="*/ 1324855 h 2579181"/>
              <a:gd name="connsiteX0" fmla="*/ 269702 w 2174610"/>
              <a:gd name="connsiteY0" fmla="*/ 1324855 h 2579181"/>
              <a:gd name="connsiteX1" fmla="*/ 121009 w 2174610"/>
              <a:gd name="connsiteY1" fmla="*/ 389259 h 2579181"/>
              <a:gd name="connsiteX2" fmla="*/ 396166 w 2174610"/>
              <a:gd name="connsiteY2" fmla="*/ 66 h 2579181"/>
              <a:gd name="connsiteX3" fmla="*/ 2172314 w 2174610"/>
              <a:gd name="connsiteY3" fmla="*/ 21166 h 2579181"/>
              <a:gd name="connsiteX4" fmla="*/ 2173564 w 2174610"/>
              <a:gd name="connsiteY4" fmla="*/ 2571920 h 2579181"/>
              <a:gd name="connsiteX5" fmla="*/ 1513170 w 2174610"/>
              <a:gd name="connsiteY5" fmla="*/ 2573804 h 2579181"/>
              <a:gd name="connsiteX6" fmla="*/ 1426165 w 2174610"/>
              <a:gd name="connsiteY6" fmla="*/ 2452525 h 2579181"/>
              <a:gd name="connsiteX7" fmla="*/ 1415619 w 2174610"/>
              <a:gd name="connsiteY7" fmla="*/ 2576440 h 2579181"/>
              <a:gd name="connsiteX8" fmla="*/ 47725 w 2174610"/>
              <a:gd name="connsiteY8" fmla="*/ 2579181 h 2579181"/>
              <a:gd name="connsiteX9" fmla="*/ 1 w 2174610"/>
              <a:gd name="connsiteY9" fmla="*/ 2325813 h 2579181"/>
              <a:gd name="connsiteX10" fmla="*/ 269702 w 2174610"/>
              <a:gd name="connsiteY10" fmla="*/ 1324855 h 2579181"/>
              <a:gd name="connsiteX0" fmla="*/ 269702 w 2174610"/>
              <a:gd name="connsiteY0" fmla="*/ 1324855 h 2579181"/>
              <a:gd name="connsiteX1" fmla="*/ 121009 w 2174610"/>
              <a:gd name="connsiteY1" fmla="*/ 389259 h 2579181"/>
              <a:gd name="connsiteX2" fmla="*/ 396166 w 2174610"/>
              <a:gd name="connsiteY2" fmla="*/ 66 h 2579181"/>
              <a:gd name="connsiteX3" fmla="*/ 2172314 w 2174610"/>
              <a:gd name="connsiteY3" fmla="*/ 21166 h 2579181"/>
              <a:gd name="connsiteX4" fmla="*/ 2173564 w 2174610"/>
              <a:gd name="connsiteY4" fmla="*/ 2571920 h 2579181"/>
              <a:gd name="connsiteX5" fmla="*/ 1613358 w 2174610"/>
              <a:gd name="connsiteY5" fmla="*/ 2573804 h 2579181"/>
              <a:gd name="connsiteX6" fmla="*/ 1426165 w 2174610"/>
              <a:gd name="connsiteY6" fmla="*/ 2452525 h 2579181"/>
              <a:gd name="connsiteX7" fmla="*/ 1415619 w 2174610"/>
              <a:gd name="connsiteY7" fmla="*/ 2576440 h 2579181"/>
              <a:gd name="connsiteX8" fmla="*/ 47725 w 2174610"/>
              <a:gd name="connsiteY8" fmla="*/ 2579181 h 2579181"/>
              <a:gd name="connsiteX9" fmla="*/ 1 w 2174610"/>
              <a:gd name="connsiteY9" fmla="*/ 2325813 h 2579181"/>
              <a:gd name="connsiteX10" fmla="*/ 269702 w 2174610"/>
              <a:gd name="connsiteY10" fmla="*/ 1324855 h 2579181"/>
              <a:gd name="connsiteX0" fmla="*/ 269702 w 2174610"/>
              <a:gd name="connsiteY0" fmla="*/ 1324855 h 2579181"/>
              <a:gd name="connsiteX1" fmla="*/ 121009 w 2174610"/>
              <a:gd name="connsiteY1" fmla="*/ 389259 h 2579181"/>
              <a:gd name="connsiteX2" fmla="*/ 396166 w 2174610"/>
              <a:gd name="connsiteY2" fmla="*/ 66 h 2579181"/>
              <a:gd name="connsiteX3" fmla="*/ 2172314 w 2174610"/>
              <a:gd name="connsiteY3" fmla="*/ 21166 h 2579181"/>
              <a:gd name="connsiteX4" fmla="*/ 2173564 w 2174610"/>
              <a:gd name="connsiteY4" fmla="*/ 2571920 h 2579181"/>
              <a:gd name="connsiteX5" fmla="*/ 1613358 w 2174610"/>
              <a:gd name="connsiteY5" fmla="*/ 2573804 h 2579181"/>
              <a:gd name="connsiteX6" fmla="*/ 1426165 w 2174610"/>
              <a:gd name="connsiteY6" fmla="*/ 2452525 h 2579181"/>
              <a:gd name="connsiteX7" fmla="*/ 1505260 w 2174610"/>
              <a:gd name="connsiteY7" fmla="*/ 2579076 h 2579181"/>
              <a:gd name="connsiteX8" fmla="*/ 47725 w 2174610"/>
              <a:gd name="connsiteY8" fmla="*/ 2579181 h 2579181"/>
              <a:gd name="connsiteX9" fmla="*/ 1 w 2174610"/>
              <a:gd name="connsiteY9" fmla="*/ 2325813 h 2579181"/>
              <a:gd name="connsiteX10" fmla="*/ 269702 w 2174610"/>
              <a:gd name="connsiteY10" fmla="*/ 1324855 h 2579181"/>
              <a:gd name="connsiteX0" fmla="*/ 269702 w 2174610"/>
              <a:gd name="connsiteY0" fmla="*/ 1324855 h 2579181"/>
              <a:gd name="connsiteX1" fmla="*/ 121009 w 2174610"/>
              <a:gd name="connsiteY1" fmla="*/ 389259 h 2579181"/>
              <a:gd name="connsiteX2" fmla="*/ 396166 w 2174610"/>
              <a:gd name="connsiteY2" fmla="*/ 66 h 2579181"/>
              <a:gd name="connsiteX3" fmla="*/ 2172314 w 2174610"/>
              <a:gd name="connsiteY3" fmla="*/ 21166 h 2579181"/>
              <a:gd name="connsiteX4" fmla="*/ 2173564 w 2174610"/>
              <a:gd name="connsiteY4" fmla="*/ 2571920 h 2579181"/>
              <a:gd name="connsiteX5" fmla="*/ 1921830 w 2174610"/>
              <a:gd name="connsiteY5" fmla="*/ 2014863 h 2579181"/>
              <a:gd name="connsiteX6" fmla="*/ 1426165 w 2174610"/>
              <a:gd name="connsiteY6" fmla="*/ 2452525 h 2579181"/>
              <a:gd name="connsiteX7" fmla="*/ 1505260 w 2174610"/>
              <a:gd name="connsiteY7" fmla="*/ 2579076 h 2579181"/>
              <a:gd name="connsiteX8" fmla="*/ 47725 w 2174610"/>
              <a:gd name="connsiteY8" fmla="*/ 2579181 h 2579181"/>
              <a:gd name="connsiteX9" fmla="*/ 1 w 2174610"/>
              <a:gd name="connsiteY9" fmla="*/ 2325813 h 2579181"/>
              <a:gd name="connsiteX10" fmla="*/ 269702 w 2174610"/>
              <a:gd name="connsiteY10" fmla="*/ 1324855 h 2579181"/>
              <a:gd name="connsiteX0" fmla="*/ 269702 w 2176979"/>
              <a:gd name="connsiteY0" fmla="*/ 1324855 h 2579181"/>
              <a:gd name="connsiteX1" fmla="*/ 121009 w 2176979"/>
              <a:gd name="connsiteY1" fmla="*/ 389259 h 2579181"/>
              <a:gd name="connsiteX2" fmla="*/ 396166 w 2176979"/>
              <a:gd name="connsiteY2" fmla="*/ 66 h 2579181"/>
              <a:gd name="connsiteX3" fmla="*/ 2172314 w 2176979"/>
              <a:gd name="connsiteY3" fmla="*/ 21166 h 2579181"/>
              <a:gd name="connsiteX4" fmla="*/ 2176201 w 2176979"/>
              <a:gd name="connsiteY4" fmla="*/ 1857425 h 2579181"/>
              <a:gd name="connsiteX5" fmla="*/ 1921830 w 2176979"/>
              <a:gd name="connsiteY5" fmla="*/ 2014863 h 2579181"/>
              <a:gd name="connsiteX6" fmla="*/ 1426165 w 2176979"/>
              <a:gd name="connsiteY6" fmla="*/ 2452525 h 2579181"/>
              <a:gd name="connsiteX7" fmla="*/ 1505260 w 2176979"/>
              <a:gd name="connsiteY7" fmla="*/ 2579076 h 2579181"/>
              <a:gd name="connsiteX8" fmla="*/ 47725 w 2176979"/>
              <a:gd name="connsiteY8" fmla="*/ 2579181 h 2579181"/>
              <a:gd name="connsiteX9" fmla="*/ 1 w 2176979"/>
              <a:gd name="connsiteY9" fmla="*/ 2325813 h 2579181"/>
              <a:gd name="connsiteX10" fmla="*/ 269702 w 2176979"/>
              <a:gd name="connsiteY10" fmla="*/ 1324855 h 2579181"/>
              <a:gd name="connsiteX0" fmla="*/ 269702 w 2176979"/>
              <a:gd name="connsiteY0" fmla="*/ 1324855 h 2579181"/>
              <a:gd name="connsiteX1" fmla="*/ 121009 w 2176979"/>
              <a:gd name="connsiteY1" fmla="*/ 389259 h 2579181"/>
              <a:gd name="connsiteX2" fmla="*/ 396166 w 2176979"/>
              <a:gd name="connsiteY2" fmla="*/ 66 h 2579181"/>
              <a:gd name="connsiteX3" fmla="*/ 2172314 w 2176979"/>
              <a:gd name="connsiteY3" fmla="*/ 21166 h 2579181"/>
              <a:gd name="connsiteX4" fmla="*/ 2176201 w 2176979"/>
              <a:gd name="connsiteY4" fmla="*/ 1857425 h 2579181"/>
              <a:gd name="connsiteX5" fmla="*/ 2069474 w 2176979"/>
              <a:gd name="connsiteY5" fmla="*/ 2025410 h 2579181"/>
              <a:gd name="connsiteX6" fmla="*/ 1921830 w 2176979"/>
              <a:gd name="connsiteY6" fmla="*/ 2014863 h 2579181"/>
              <a:gd name="connsiteX7" fmla="*/ 1426165 w 2176979"/>
              <a:gd name="connsiteY7" fmla="*/ 2452525 h 2579181"/>
              <a:gd name="connsiteX8" fmla="*/ 1505260 w 2176979"/>
              <a:gd name="connsiteY8" fmla="*/ 2579076 h 2579181"/>
              <a:gd name="connsiteX9" fmla="*/ 47725 w 2176979"/>
              <a:gd name="connsiteY9" fmla="*/ 2579181 h 2579181"/>
              <a:gd name="connsiteX10" fmla="*/ 1 w 2176979"/>
              <a:gd name="connsiteY10" fmla="*/ 2325813 h 2579181"/>
              <a:gd name="connsiteX11" fmla="*/ 269702 w 2176979"/>
              <a:gd name="connsiteY11" fmla="*/ 1324855 h 2579181"/>
              <a:gd name="connsiteX0" fmla="*/ 269702 w 2176979"/>
              <a:gd name="connsiteY0" fmla="*/ 1324855 h 2579181"/>
              <a:gd name="connsiteX1" fmla="*/ 121009 w 2176979"/>
              <a:gd name="connsiteY1" fmla="*/ 389259 h 2579181"/>
              <a:gd name="connsiteX2" fmla="*/ 396166 w 2176979"/>
              <a:gd name="connsiteY2" fmla="*/ 66 h 2579181"/>
              <a:gd name="connsiteX3" fmla="*/ 2172314 w 2176979"/>
              <a:gd name="connsiteY3" fmla="*/ 21166 h 2579181"/>
              <a:gd name="connsiteX4" fmla="*/ 2176201 w 2176979"/>
              <a:gd name="connsiteY4" fmla="*/ 1857425 h 2579181"/>
              <a:gd name="connsiteX5" fmla="*/ 2069474 w 2176979"/>
              <a:gd name="connsiteY5" fmla="*/ 2025410 h 2579181"/>
              <a:gd name="connsiteX6" fmla="*/ 1921830 w 2176979"/>
              <a:gd name="connsiteY6" fmla="*/ 2014863 h 2579181"/>
              <a:gd name="connsiteX7" fmla="*/ 1426165 w 2176979"/>
              <a:gd name="connsiteY7" fmla="*/ 2452525 h 2579181"/>
              <a:gd name="connsiteX8" fmla="*/ 1505260 w 2176979"/>
              <a:gd name="connsiteY8" fmla="*/ 2579076 h 2579181"/>
              <a:gd name="connsiteX9" fmla="*/ 47725 w 2176979"/>
              <a:gd name="connsiteY9" fmla="*/ 2579181 h 2579181"/>
              <a:gd name="connsiteX10" fmla="*/ 1 w 2176979"/>
              <a:gd name="connsiteY10" fmla="*/ 2325813 h 2579181"/>
              <a:gd name="connsiteX11" fmla="*/ 269702 w 2176979"/>
              <a:gd name="connsiteY11" fmla="*/ 1324855 h 2579181"/>
              <a:gd name="connsiteX0" fmla="*/ 269702 w 2176979"/>
              <a:gd name="connsiteY0" fmla="*/ 1324855 h 2579181"/>
              <a:gd name="connsiteX1" fmla="*/ 121009 w 2176979"/>
              <a:gd name="connsiteY1" fmla="*/ 389259 h 2579181"/>
              <a:gd name="connsiteX2" fmla="*/ 396166 w 2176979"/>
              <a:gd name="connsiteY2" fmla="*/ 66 h 2579181"/>
              <a:gd name="connsiteX3" fmla="*/ 2172314 w 2176979"/>
              <a:gd name="connsiteY3" fmla="*/ 21166 h 2579181"/>
              <a:gd name="connsiteX4" fmla="*/ 2176201 w 2176979"/>
              <a:gd name="connsiteY4" fmla="*/ 1857425 h 2579181"/>
              <a:gd name="connsiteX5" fmla="*/ 2069474 w 2176979"/>
              <a:gd name="connsiteY5" fmla="*/ 2035956 h 2579181"/>
              <a:gd name="connsiteX6" fmla="*/ 1921830 w 2176979"/>
              <a:gd name="connsiteY6" fmla="*/ 2014863 h 2579181"/>
              <a:gd name="connsiteX7" fmla="*/ 1426165 w 2176979"/>
              <a:gd name="connsiteY7" fmla="*/ 2452525 h 2579181"/>
              <a:gd name="connsiteX8" fmla="*/ 1505260 w 2176979"/>
              <a:gd name="connsiteY8" fmla="*/ 2579076 h 2579181"/>
              <a:gd name="connsiteX9" fmla="*/ 47725 w 2176979"/>
              <a:gd name="connsiteY9" fmla="*/ 2579181 h 2579181"/>
              <a:gd name="connsiteX10" fmla="*/ 1 w 2176979"/>
              <a:gd name="connsiteY10" fmla="*/ 2325813 h 2579181"/>
              <a:gd name="connsiteX11" fmla="*/ 269702 w 2176979"/>
              <a:gd name="connsiteY11" fmla="*/ 1324855 h 2579181"/>
              <a:gd name="connsiteX0" fmla="*/ 269702 w 2176979"/>
              <a:gd name="connsiteY0" fmla="*/ 1324855 h 2579181"/>
              <a:gd name="connsiteX1" fmla="*/ 121009 w 2176979"/>
              <a:gd name="connsiteY1" fmla="*/ 389259 h 2579181"/>
              <a:gd name="connsiteX2" fmla="*/ 396166 w 2176979"/>
              <a:gd name="connsiteY2" fmla="*/ 66 h 2579181"/>
              <a:gd name="connsiteX3" fmla="*/ 2172314 w 2176979"/>
              <a:gd name="connsiteY3" fmla="*/ 21166 h 2579181"/>
              <a:gd name="connsiteX4" fmla="*/ 2176201 w 2176979"/>
              <a:gd name="connsiteY4" fmla="*/ 1857425 h 2579181"/>
              <a:gd name="connsiteX5" fmla="*/ 2069474 w 2176979"/>
              <a:gd name="connsiteY5" fmla="*/ 2035956 h 2579181"/>
              <a:gd name="connsiteX6" fmla="*/ 1921830 w 2176979"/>
              <a:gd name="connsiteY6" fmla="*/ 2014863 h 2579181"/>
              <a:gd name="connsiteX7" fmla="*/ 1505260 w 2176979"/>
              <a:gd name="connsiteY7" fmla="*/ 2033319 h 2579181"/>
              <a:gd name="connsiteX8" fmla="*/ 1426165 w 2176979"/>
              <a:gd name="connsiteY8" fmla="*/ 2452525 h 2579181"/>
              <a:gd name="connsiteX9" fmla="*/ 1505260 w 2176979"/>
              <a:gd name="connsiteY9" fmla="*/ 2579076 h 2579181"/>
              <a:gd name="connsiteX10" fmla="*/ 47725 w 2176979"/>
              <a:gd name="connsiteY10" fmla="*/ 2579181 h 2579181"/>
              <a:gd name="connsiteX11" fmla="*/ 1 w 2176979"/>
              <a:gd name="connsiteY11" fmla="*/ 2325813 h 2579181"/>
              <a:gd name="connsiteX12" fmla="*/ 269702 w 2176979"/>
              <a:gd name="connsiteY12" fmla="*/ 1324855 h 2579181"/>
              <a:gd name="connsiteX0" fmla="*/ 269702 w 2176979"/>
              <a:gd name="connsiteY0" fmla="*/ 1324855 h 2579181"/>
              <a:gd name="connsiteX1" fmla="*/ 121009 w 2176979"/>
              <a:gd name="connsiteY1" fmla="*/ 389259 h 2579181"/>
              <a:gd name="connsiteX2" fmla="*/ 396166 w 2176979"/>
              <a:gd name="connsiteY2" fmla="*/ 66 h 2579181"/>
              <a:gd name="connsiteX3" fmla="*/ 2172314 w 2176979"/>
              <a:gd name="connsiteY3" fmla="*/ 21166 h 2579181"/>
              <a:gd name="connsiteX4" fmla="*/ 2176201 w 2176979"/>
              <a:gd name="connsiteY4" fmla="*/ 1857425 h 2579181"/>
              <a:gd name="connsiteX5" fmla="*/ 2069474 w 2176979"/>
              <a:gd name="connsiteY5" fmla="*/ 2035956 h 2579181"/>
              <a:gd name="connsiteX6" fmla="*/ 1921830 w 2176979"/>
              <a:gd name="connsiteY6" fmla="*/ 2014863 h 2579181"/>
              <a:gd name="connsiteX7" fmla="*/ 1505260 w 2176979"/>
              <a:gd name="connsiteY7" fmla="*/ 2033319 h 2579181"/>
              <a:gd name="connsiteX8" fmla="*/ 1426165 w 2176979"/>
              <a:gd name="connsiteY8" fmla="*/ 2452525 h 2579181"/>
              <a:gd name="connsiteX9" fmla="*/ 1505260 w 2176979"/>
              <a:gd name="connsiteY9" fmla="*/ 2579076 h 2579181"/>
              <a:gd name="connsiteX10" fmla="*/ 47725 w 2176979"/>
              <a:gd name="connsiteY10" fmla="*/ 2579181 h 2579181"/>
              <a:gd name="connsiteX11" fmla="*/ 1 w 2176979"/>
              <a:gd name="connsiteY11" fmla="*/ 2325813 h 2579181"/>
              <a:gd name="connsiteX12" fmla="*/ 269702 w 2176979"/>
              <a:gd name="connsiteY12" fmla="*/ 1324855 h 2579181"/>
              <a:gd name="connsiteX0" fmla="*/ 269702 w 2176979"/>
              <a:gd name="connsiteY0" fmla="*/ 1324855 h 2579181"/>
              <a:gd name="connsiteX1" fmla="*/ 121009 w 2176979"/>
              <a:gd name="connsiteY1" fmla="*/ 389259 h 2579181"/>
              <a:gd name="connsiteX2" fmla="*/ 396166 w 2176979"/>
              <a:gd name="connsiteY2" fmla="*/ 66 h 2579181"/>
              <a:gd name="connsiteX3" fmla="*/ 2172314 w 2176979"/>
              <a:gd name="connsiteY3" fmla="*/ 21166 h 2579181"/>
              <a:gd name="connsiteX4" fmla="*/ 2176201 w 2176979"/>
              <a:gd name="connsiteY4" fmla="*/ 1857425 h 2579181"/>
              <a:gd name="connsiteX5" fmla="*/ 2069474 w 2176979"/>
              <a:gd name="connsiteY5" fmla="*/ 2035956 h 2579181"/>
              <a:gd name="connsiteX6" fmla="*/ 1921830 w 2176979"/>
              <a:gd name="connsiteY6" fmla="*/ 2014863 h 2579181"/>
              <a:gd name="connsiteX7" fmla="*/ 1505260 w 2176979"/>
              <a:gd name="connsiteY7" fmla="*/ 2033319 h 2579181"/>
              <a:gd name="connsiteX8" fmla="*/ 1423529 w 2176979"/>
              <a:gd name="connsiteY8" fmla="*/ 2460434 h 2579181"/>
              <a:gd name="connsiteX9" fmla="*/ 1505260 w 2176979"/>
              <a:gd name="connsiteY9" fmla="*/ 2579076 h 2579181"/>
              <a:gd name="connsiteX10" fmla="*/ 47725 w 2176979"/>
              <a:gd name="connsiteY10" fmla="*/ 2579181 h 2579181"/>
              <a:gd name="connsiteX11" fmla="*/ 1 w 2176979"/>
              <a:gd name="connsiteY11" fmla="*/ 2325813 h 2579181"/>
              <a:gd name="connsiteX12" fmla="*/ 269702 w 2176979"/>
              <a:gd name="connsiteY12" fmla="*/ 1324855 h 2579181"/>
              <a:gd name="connsiteX0" fmla="*/ 269702 w 2176979"/>
              <a:gd name="connsiteY0" fmla="*/ 1324855 h 2579181"/>
              <a:gd name="connsiteX1" fmla="*/ 121009 w 2176979"/>
              <a:gd name="connsiteY1" fmla="*/ 389259 h 2579181"/>
              <a:gd name="connsiteX2" fmla="*/ 396166 w 2176979"/>
              <a:gd name="connsiteY2" fmla="*/ 66 h 2579181"/>
              <a:gd name="connsiteX3" fmla="*/ 2172314 w 2176979"/>
              <a:gd name="connsiteY3" fmla="*/ 21166 h 2579181"/>
              <a:gd name="connsiteX4" fmla="*/ 2176201 w 2176979"/>
              <a:gd name="connsiteY4" fmla="*/ 1857425 h 2579181"/>
              <a:gd name="connsiteX5" fmla="*/ 2069474 w 2176979"/>
              <a:gd name="connsiteY5" fmla="*/ 2035956 h 2579181"/>
              <a:gd name="connsiteX6" fmla="*/ 1921830 w 2176979"/>
              <a:gd name="connsiteY6" fmla="*/ 2014863 h 2579181"/>
              <a:gd name="connsiteX7" fmla="*/ 1505260 w 2176979"/>
              <a:gd name="connsiteY7" fmla="*/ 2033319 h 2579181"/>
              <a:gd name="connsiteX8" fmla="*/ 1423529 w 2176979"/>
              <a:gd name="connsiteY8" fmla="*/ 2460434 h 2579181"/>
              <a:gd name="connsiteX9" fmla="*/ 1505260 w 2176979"/>
              <a:gd name="connsiteY9" fmla="*/ 2579076 h 2579181"/>
              <a:gd name="connsiteX10" fmla="*/ 47725 w 2176979"/>
              <a:gd name="connsiteY10" fmla="*/ 2579181 h 2579181"/>
              <a:gd name="connsiteX11" fmla="*/ 1 w 2176979"/>
              <a:gd name="connsiteY11" fmla="*/ 2325813 h 2579181"/>
              <a:gd name="connsiteX12" fmla="*/ 269702 w 2176979"/>
              <a:gd name="connsiteY12" fmla="*/ 1324855 h 2579181"/>
              <a:gd name="connsiteX0" fmla="*/ 269702 w 2176979"/>
              <a:gd name="connsiteY0" fmla="*/ 1324855 h 2579181"/>
              <a:gd name="connsiteX1" fmla="*/ 121009 w 2176979"/>
              <a:gd name="connsiteY1" fmla="*/ 389259 h 2579181"/>
              <a:gd name="connsiteX2" fmla="*/ 396166 w 2176979"/>
              <a:gd name="connsiteY2" fmla="*/ 66 h 2579181"/>
              <a:gd name="connsiteX3" fmla="*/ 2172314 w 2176979"/>
              <a:gd name="connsiteY3" fmla="*/ 21166 h 2579181"/>
              <a:gd name="connsiteX4" fmla="*/ 2176201 w 2176979"/>
              <a:gd name="connsiteY4" fmla="*/ 1857425 h 2579181"/>
              <a:gd name="connsiteX5" fmla="*/ 2069474 w 2176979"/>
              <a:gd name="connsiteY5" fmla="*/ 2035956 h 2579181"/>
              <a:gd name="connsiteX6" fmla="*/ 1923620 w 2176979"/>
              <a:gd name="connsiteY6" fmla="*/ 2007703 h 2579181"/>
              <a:gd name="connsiteX7" fmla="*/ 1505260 w 2176979"/>
              <a:gd name="connsiteY7" fmla="*/ 2033319 h 2579181"/>
              <a:gd name="connsiteX8" fmla="*/ 1423529 w 2176979"/>
              <a:gd name="connsiteY8" fmla="*/ 2460434 h 2579181"/>
              <a:gd name="connsiteX9" fmla="*/ 1505260 w 2176979"/>
              <a:gd name="connsiteY9" fmla="*/ 2579076 h 2579181"/>
              <a:gd name="connsiteX10" fmla="*/ 47725 w 2176979"/>
              <a:gd name="connsiteY10" fmla="*/ 2579181 h 2579181"/>
              <a:gd name="connsiteX11" fmla="*/ 1 w 2176979"/>
              <a:gd name="connsiteY11" fmla="*/ 2325813 h 2579181"/>
              <a:gd name="connsiteX12" fmla="*/ 269702 w 2176979"/>
              <a:gd name="connsiteY12" fmla="*/ 1324855 h 2579181"/>
              <a:gd name="connsiteX0" fmla="*/ 269702 w 2176979"/>
              <a:gd name="connsiteY0" fmla="*/ 1324855 h 2579181"/>
              <a:gd name="connsiteX1" fmla="*/ 121009 w 2176979"/>
              <a:gd name="connsiteY1" fmla="*/ 389259 h 2579181"/>
              <a:gd name="connsiteX2" fmla="*/ 396166 w 2176979"/>
              <a:gd name="connsiteY2" fmla="*/ 66 h 2579181"/>
              <a:gd name="connsiteX3" fmla="*/ 2172314 w 2176979"/>
              <a:gd name="connsiteY3" fmla="*/ 21166 h 2579181"/>
              <a:gd name="connsiteX4" fmla="*/ 2176201 w 2176979"/>
              <a:gd name="connsiteY4" fmla="*/ 1857425 h 2579181"/>
              <a:gd name="connsiteX5" fmla="*/ 2069474 w 2176979"/>
              <a:gd name="connsiteY5" fmla="*/ 2035956 h 2579181"/>
              <a:gd name="connsiteX6" fmla="*/ 1923620 w 2176979"/>
              <a:gd name="connsiteY6" fmla="*/ 2007703 h 2579181"/>
              <a:gd name="connsiteX7" fmla="*/ 1505260 w 2176979"/>
              <a:gd name="connsiteY7" fmla="*/ 2033319 h 2579181"/>
              <a:gd name="connsiteX8" fmla="*/ 1423529 w 2176979"/>
              <a:gd name="connsiteY8" fmla="*/ 2460434 h 2579181"/>
              <a:gd name="connsiteX9" fmla="*/ 1505260 w 2176979"/>
              <a:gd name="connsiteY9" fmla="*/ 2579076 h 2579181"/>
              <a:gd name="connsiteX10" fmla="*/ 47725 w 2176979"/>
              <a:gd name="connsiteY10" fmla="*/ 2579181 h 2579181"/>
              <a:gd name="connsiteX11" fmla="*/ 1 w 2176979"/>
              <a:gd name="connsiteY11" fmla="*/ 2325813 h 2579181"/>
              <a:gd name="connsiteX12" fmla="*/ 269702 w 2176979"/>
              <a:gd name="connsiteY12" fmla="*/ 1324855 h 2579181"/>
              <a:gd name="connsiteX0" fmla="*/ 269702 w 2176979"/>
              <a:gd name="connsiteY0" fmla="*/ 1324855 h 2579181"/>
              <a:gd name="connsiteX1" fmla="*/ 121009 w 2176979"/>
              <a:gd name="connsiteY1" fmla="*/ 389259 h 2579181"/>
              <a:gd name="connsiteX2" fmla="*/ 396166 w 2176979"/>
              <a:gd name="connsiteY2" fmla="*/ 66 h 2579181"/>
              <a:gd name="connsiteX3" fmla="*/ 2172314 w 2176979"/>
              <a:gd name="connsiteY3" fmla="*/ 21166 h 2579181"/>
              <a:gd name="connsiteX4" fmla="*/ 2176201 w 2176979"/>
              <a:gd name="connsiteY4" fmla="*/ 1857425 h 2579181"/>
              <a:gd name="connsiteX5" fmla="*/ 2069474 w 2176979"/>
              <a:gd name="connsiteY5" fmla="*/ 2035956 h 2579181"/>
              <a:gd name="connsiteX6" fmla="*/ 1923620 w 2176979"/>
              <a:gd name="connsiteY6" fmla="*/ 2007703 h 2579181"/>
              <a:gd name="connsiteX7" fmla="*/ 1505260 w 2176979"/>
              <a:gd name="connsiteY7" fmla="*/ 2033319 h 2579181"/>
              <a:gd name="connsiteX8" fmla="*/ 1423529 w 2176979"/>
              <a:gd name="connsiteY8" fmla="*/ 2460434 h 2579181"/>
              <a:gd name="connsiteX9" fmla="*/ 1505260 w 2176979"/>
              <a:gd name="connsiteY9" fmla="*/ 2579076 h 2579181"/>
              <a:gd name="connsiteX10" fmla="*/ 47725 w 2176979"/>
              <a:gd name="connsiteY10" fmla="*/ 2579181 h 2579181"/>
              <a:gd name="connsiteX11" fmla="*/ 1 w 2176979"/>
              <a:gd name="connsiteY11" fmla="*/ 2325813 h 2579181"/>
              <a:gd name="connsiteX12" fmla="*/ 269702 w 2176979"/>
              <a:gd name="connsiteY12" fmla="*/ 1324855 h 2579181"/>
              <a:gd name="connsiteX0" fmla="*/ 269702 w 2176979"/>
              <a:gd name="connsiteY0" fmla="*/ 1324855 h 2579181"/>
              <a:gd name="connsiteX1" fmla="*/ 121009 w 2176979"/>
              <a:gd name="connsiteY1" fmla="*/ 389259 h 2579181"/>
              <a:gd name="connsiteX2" fmla="*/ 396166 w 2176979"/>
              <a:gd name="connsiteY2" fmla="*/ 66 h 2579181"/>
              <a:gd name="connsiteX3" fmla="*/ 2172314 w 2176979"/>
              <a:gd name="connsiteY3" fmla="*/ 21166 h 2579181"/>
              <a:gd name="connsiteX4" fmla="*/ 2176201 w 2176979"/>
              <a:gd name="connsiteY4" fmla="*/ 1857425 h 2579181"/>
              <a:gd name="connsiteX5" fmla="*/ 2069474 w 2176979"/>
              <a:gd name="connsiteY5" fmla="*/ 2035956 h 2579181"/>
              <a:gd name="connsiteX6" fmla="*/ 1923620 w 2176979"/>
              <a:gd name="connsiteY6" fmla="*/ 2007703 h 2579181"/>
              <a:gd name="connsiteX7" fmla="*/ 1505260 w 2176979"/>
              <a:gd name="connsiteY7" fmla="*/ 2033319 h 2579181"/>
              <a:gd name="connsiteX8" fmla="*/ 1423529 w 2176979"/>
              <a:gd name="connsiteY8" fmla="*/ 2460434 h 2579181"/>
              <a:gd name="connsiteX9" fmla="*/ 1505260 w 2176979"/>
              <a:gd name="connsiteY9" fmla="*/ 2579076 h 2579181"/>
              <a:gd name="connsiteX10" fmla="*/ 47725 w 2176979"/>
              <a:gd name="connsiteY10" fmla="*/ 2579181 h 2579181"/>
              <a:gd name="connsiteX11" fmla="*/ 1 w 2176979"/>
              <a:gd name="connsiteY11" fmla="*/ 2325813 h 2579181"/>
              <a:gd name="connsiteX12" fmla="*/ 269702 w 2176979"/>
              <a:gd name="connsiteY12" fmla="*/ 1324855 h 2579181"/>
              <a:gd name="connsiteX0" fmla="*/ 269702 w 2176979"/>
              <a:gd name="connsiteY0" fmla="*/ 1324855 h 2579181"/>
              <a:gd name="connsiteX1" fmla="*/ 121009 w 2176979"/>
              <a:gd name="connsiteY1" fmla="*/ 389259 h 2579181"/>
              <a:gd name="connsiteX2" fmla="*/ 396166 w 2176979"/>
              <a:gd name="connsiteY2" fmla="*/ 66 h 2579181"/>
              <a:gd name="connsiteX3" fmla="*/ 2172314 w 2176979"/>
              <a:gd name="connsiteY3" fmla="*/ 21166 h 2579181"/>
              <a:gd name="connsiteX4" fmla="*/ 2176201 w 2176979"/>
              <a:gd name="connsiteY4" fmla="*/ 1857425 h 2579181"/>
              <a:gd name="connsiteX5" fmla="*/ 2069474 w 2176979"/>
              <a:gd name="connsiteY5" fmla="*/ 2035956 h 2579181"/>
              <a:gd name="connsiteX6" fmla="*/ 1923620 w 2176979"/>
              <a:gd name="connsiteY6" fmla="*/ 2007703 h 2579181"/>
              <a:gd name="connsiteX7" fmla="*/ 1505260 w 2176979"/>
              <a:gd name="connsiteY7" fmla="*/ 2033319 h 2579181"/>
              <a:gd name="connsiteX8" fmla="*/ 1423529 w 2176979"/>
              <a:gd name="connsiteY8" fmla="*/ 2460434 h 2579181"/>
              <a:gd name="connsiteX9" fmla="*/ 1542851 w 2176979"/>
              <a:gd name="connsiteY9" fmla="*/ 2579076 h 2579181"/>
              <a:gd name="connsiteX10" fmla="*/ 47725 w 2176979"/>
              <a:gd name="connsiteY10" fmla="*/ 2579181 h 2579181"/>
              <a:gd name="connsiteX11" fmla="*/ 1 w 2176979"/>
              <a:gd name="connsiteY11" fmla="*/ 2325813 h 2579181"/>
              <a:gd name="connsiteX12" fmla="*/ 269702 w 2176979"/>
              <a:gd name="connsiteY12" fmla="*/ 1324855 h 2579181"/>
              <a:gd name="connsiteX0" fmla="*/ 269702 w 2176979"/>
              <a:gd name="connsiteY0" fmla="*/ 1324855 h 2579181"/>
              <a:gd name="connsiteX1" fmla="*/ 121009 w 2176979"/>
              <a:gd name="connsiteY1" fmla="*/ 389259 h 2579181"/>
              <a:gd name="connsiteX2" fmla="*/ 396166 w 2176979"/>
              <a:gd name="connsiteY2" fmla="*/ 66 h 2579181"/>
              <a:gd name="connsiteX3" fmla="*/ 2172314 w 2176979"/>
              <a:gd name="connsiteY3" fmla="*/ 21166 h 2579181"/>
              <a:gd name="connsiteX4" fmla="*/ 2176201 w 2176979"/>
              <a:gd name="connsiteY4" fmla="*/ 1857425 h 2579181"/>
              <a:gd name="connsiteX5" fmla="*/ 2069474 w 2176979"/>
              <a:gd name="connsiteY5" fmla="*/ 2035956 h 2579181"/>
              <a:gd name="connsiteX6" fmla="*/ 1923620 w 2176979"/>
              <a:gd name="connsiteY6" fmla="*/ 2007703 h 2579181"/>
              <a:gd name="connsiteX7" fmla="*/ 1505260 w 2176979"/>
              <a:gd name="connsiteY7" fmla="*/ 2033319 h 2579181"/>
              <a:gd name="connsiteX8" fmla="*/ 1423529 w 2176979"/>
              <a:gd name="connsiteY8" fmla="*/ 2460434 h 2579181"/>
              <a:gd name="connsiteX9" fmla="*/ 1503470 w 2176979"/>
              <a:gd name="connsiteY9" fmla="*/ 2577286 h 2579181"/>
              <a:gd name="connsiteX10" fmla="*/ 47725 w 2176979"/>
              <a:gd name="connsiteY10" fmla="*/ 2579181 h 2579181"/>
              <a:gd name="connsiteX11" fmla="*/ 1 w 2176979"/>
              <a:gd name="connsiteY11" fmla="*/ 2325813 h 2579181"/>
              <a:gd name="connsiteX12" fmla="*/ 269702 w 2176979"/>
              <a:gd name="connsiteY12" fmla="*/ 1324855 h 2579181"/>
              <a:gd name="connsiteX0" fmla="*/ 269702 w 2176979"/>
              <a:gd name="connsiteY0" fmla="*/ 1324855 h 2579181"/>
              <a:gd name="connsiteX1" fmla="*/ 121009 w 2176979"/>
              <a:gd name="connsiteY1" fmla="*/ 389259 h 2579181"/>
              <a:gd name="connsiteX2" fmla="*/ 396166 w 2176979"/>
              <a:gd name="connsiteY2" fmla="*/ 66 h 2579181"/>
              <a:gd name="connsiteX3" fmla="*/ 2172314 w 2176979"/>
              <a:gd name="connsiteY3" fmla="*/ 21166 h 2579181"/>
              <a:gd name="connsiteX4" fmla="*/ 2176201 w 2176979"/>
              <a:gd name="connsiteY4" fmla="*/ 1857425 h 2579181"/>
              <a:gd name="connsiteX5" fmla="*/ 2069474 w 2176979"/>
              <a:gd name="connsiteY5" fmla="*/ 2035956 h 2579181"/>
              <a:gd name="connsiteX6" fmla="*/ 1923620 w 2176979"/>
              <a:gd name="connsiteY6" fmla="*/ 2007703 h 2579181"/>
              <a:gd name="connsiteX7" fmla="*/ 1505260 w 2176979"/>
              <a:gd name="connsiteY7" fmla="*/ 2033319 h 2579181"/>
              <a:gd name="connsiteX8" fmla="*/ 1423529 w 2176979"/>
              <a:gd name="connsiteY8" fmla="*/ 2460434 h 2579181"/>
              <a:gd name="connsiteX9" fmla="*/ 1503470 w 2176979"/>
              <a:gd name="connsiteY9" fmla="*/ 2577286 h 2579181"/>
              <a:gd name="connsiteX10" fmla="*/ 47725 w 2176979"/>
              <a:gd name="connsiteY10" fmla="*/ 2579181 h 2579181"/>
              <a:gd name="connsiteX11" fmla="*/ 1 w 2176979"/>
              <a:gd name="connsiteY11" fmla="*/ 2325813 h 2579181"/>
              <a:gd name="connsiteX12" fmla="*/ 269702 w 2176979"/>
              <a:gd name="connsiteY12" fmla="*/ 1324855 h 2579181"/>
              <a:gd name="connsiteX0" fmla="*/ 269702 w 2176979"/>
              <a:gd name="connsiteY0" fmla="*/ 1324855 h 2579181"/>
              <a:gd name="connsiteX1" fmla="*/ 121009 w 2176979"/>
              <a:gd name="connsiteY1" fmla="*/ 389259 h 2579181"/>
              <a:gd name="connsiteX2" fmla="*/ 396166 w 2176979"/>
              <a:gd name="connsiteY2" fmla="*/ 66 h 2579181"/>
              <a:gd name="connsiteX3" fmla="*/ 2172314 w 2176979"/>
              <a:gd name="connsiteY3" fmla="*/ 21166 h 2579181"/>
              <a:gd name="connsiteX4" fmla="*/ 2176201 w 2176979"/>
              <a:gd name="connsiteY4" fmla="*/ 1857425 h 2579181"/>
              <a:gd name="connsiteX5" fmla="*/ 2069474 w 2176979"/>
              <a:gd name="connsiteY5" fmla="*/ 2035956 h 2579181"/>
              <a:gd name="connsiteX6" fmla="*/ 1923620 w 2176979"/>
              <a:gd name="connsiteY6" fmla="*/ 2007703 h 2579181"/>
              <a:gd name="connsiteX7" fmla="*/ 1505260 w 2176979"/>
              <a:gd name="connsiteY7" fmla="*/ 2033319 h 2579181"/>
              <a:gd name="connsiteX8" fmla="*/ 1423529 w 2176979"/>
              <a:gd name="connsiteY8" fmla="*/ 2460434 h 2579181"/>
              <a:gd name="connsiteX9" fmla="*/ 1503470 w 2176979"/>
              <a:gd name="connsiteY9" fmla="*/ 2577286 h 2579181"/>
              <a:gd name="connsiteX10" fmla="*/ 47725 w 2176979"/>
              <a:gd name="connsiteY10" fmla="*/ 2579181 h 2579181"/>
              <a:gd name="connsiteX11" fmla="*/ 1 w 2176979"/>
              <a:gd name="connsiteY11" fmla="*/ 2325813 h 2579181"/>
              <a:gd name="connsiteX12" fmla="*/ 269702 w 2176979"/>
              <a:gd name="connsiteY12" fmla="*/ 1324855 h 2579181"/>
              <a:gd name="connsiteX0" fmla="*/ 269702 w 2176979"/>
              <a:gd name="connsiteY0" fmla="*/ 1324855 h 2579181"/>
              <a:gd name="connsiteX1" fmla="*/ 121009 w 2176979"/>
              <a:gd name="connsiteY1" fmla="*/ 389259 h 2579181"/>
              <a:gd name="connsiteX2" fmla="*/ 396166 w 2176979"/>
              <a:gd name="connsiteY2" fmla="*/ 66 h 2579181"/>
              <a:gd name="connsiteX3" fmla="*/ 2172314 w 2176979"/>
              <a:gd name="connsiteY3" fmla="*/ 21166 h 2579181"/>
              <a:gd name="connsiteX4" fmla="*/ 2176201 w 2176979"/>
              <a:gd name="connsiteY4" fmla="*/ 1857425 h 2579181"/>
              <a:gd name="connsiteX5" fmla="*/ 2069474 w 2176979"/>
              <a:gd name="connsiteY5" fmla="*/ 2035956 h 2579181"/>
              <a:gd name="connsiteX6" fmla="*/ 1923620 w 2176979"/>
              <a:gd name="connsiteY6" fmla="*/ 2007703 h 2579181"/>
              <a:gd name="connsiteX7" fmla="*/ 1505260 w 2176979"/>
              <a:gd name="connsiteY7" fmla="*/ 2033319 h 2579181"/>
              <a:gd name="connsiteX8" fmla="*/ 1423529 w 2176979"/>
              <a:gd name="connsiteY8" fmla="*/ 2460434 h 2579181"/>
              <a:gd name="connsiteX9" fmla="*/ 1503470 w 2176979"/>
              <a:gd name="connsiteY9" fmla="*/ 2577286 h 2579181"/>
              <a:gd name="connsiteX10" fmla="*/ 47725 w 2176979"/>
              <a:gd name="connsiteY10" fmla="*/ 2579181 h 2579181"/>
              <a:gd name="connsiteX11" fmla="*/ 1 w 2176979"/>
              <a:gd name="connsiteY11" fmla="*/ 2325813 h 2579181"/>
              <a:gd name="connsiteX12" fmla="*/ 269702 w 2176979"/>
              <a:gd name="connsiteY12" fmla="*/ 1324855 h 2579181"/>
              <a:gd name="connsiteX0" fmla="*/ 269702 w 2176784"/>
              <a:gd name="connsiteY0" fmla="*/ 1324869 h 2579195"/>
              <a:gd name="connsiteX1" fmla="*/ 121009 w 2176784"/>
              <a:gd name="connsiteY1" fmla="*/ 389273 h 2579195"/>
              <a:gd name="connsiteX2" fmla="*/ 396166 w 2176784"/>
              <a:gd name="connsiteY2" fmla="*/ 80 h 2579195"/>
              <a:gd name="connsiteX3" fmla="*/ 2168861 w 2176784"/>
              <a:gd name="connsiteY3" fmla="*/ 16001 h 2579195"/>
              <a:gd name="connsiteX4" fmla="*/ 2176201 w 2176784"/>
              <a:gd name="connsiteY4" fmla="*/ 1857439 h 2579195"/>
              <a:gd name="connsiteX5" fmla="*/ 2069474 w 2176784"/>
              <a:gd name="connsiteY5" fmla="*/ 2035970 h 2579195"/>
              <a:gd name="connsiteX6" fmla="*/ 1923620 w 2176784"/>
              <a:gd name="connsiteY6" fmla="*/ 2007717 h 2579195"/>
              <a:gd name="connsiteX7" fmla="*/ 1505260 w 2176784"/>
              <a:gd name="connsiteY7" fmla="*/ 2033333 h 2579195"/>
              <a:gd name="connsiteX8" fmla="*/ 1423529 w 2176784"/>
              <a:gd name="connsiteY8" fmla="*/ 2460448 h 2579195"/>
              <a:gd name="connsiteX9" fmla="*/ 1503470 w 2176784"/>
              <a:gd name="connsiteY9" fmla="*/ 2577300 h 2579195"/>
              <a:gd name="connsiteX10" fmla="*/ 47725 w 2176784"/>
              <a:gd name="connsiteY10" fmla="*/ 2579195 h 2579195"/>
              <a:gd name="connsiteX11" fmla="*/ 1 w 2176784"/>
              <a:gd name="connsiteY11" fmla="*/ 2325827 h 2579195"/>
              <a:gd name="connsiteX12" fmla="*/ 269702 w 2176784"/>
              <a:gd name="connsiteY12" fmla="*/ 1324869 h 2579195"/>
              <a:gd name="connsiteX0" fmla="*/ 269702 w 2177136"/>
              <a:gd name="connsiteY0" fmla="*/ 1324884 h 2579210"/>
              <a:gd name="connsiteX1" fmla="*/ 121009 w 2177136"/>
              <a:gd name="connsiteY1" fmla="*/ 389288 h 2579210"/>
              <a:gd name="connsiteX2" fmla="*/ 396166 w 2177136"/>
              <a:gd name="connsiteY2" fmla="*/ 95 h 2579210"/>
              <a:gd name="connsiteX3" fmla="*/ 2174041 w 2177136"/>
              <a:gd name="connsiteY3" fmla="*/ 12563 h 2579210"/>
              <a:gd name="connsiteX4" fmla="*/ 2176201 w 2177136"/>
              <a:gd name="connsiteY4" fmla="*/ 1857454 h 2579210"/>
              <a:gd name="connsiteX5" fmla="*/ 2069474 w 2177136"/>
              <a:gd name="connsiteY5" fmla="*/ 2035985 h 2579210"/>
              <a:gd name="connsiteX6" fmla="*/ 1923620 w 2177136"/>
              <a:gd name="connsiteY6" fmla="*/ 2007732 h 2579210"/>
              <a:gd name="connsiteX7" fmla="*/ 1505260 w 2177136"/>
              <a:gd name="connsiteY7" fmla="*/ 2033348 h 2579210"/>
              <a:gd name="connsiteX8" fmla="*/ 1423529 w 2177136"/>
              <a:gd name="connsiteY8" fmla="*/ 2460463 h 2579210"/>
              <a:gd name="connsiteX9" fmla="*/ 1503470 w 2177136"/>
              <a:gd name="connsiteY9" fmla="*/ 2577315 h 2579210"/>
              <a:gd name="connsiteX10" fmla="*/ 47725 w 2177136"/>
              <a:gd name="connsiteY10" fmla="*/ 2579210 h 2579210"/>
              <a:gd name="connsiteX11" fmla="*/ 1 w 2177136"/>
              <a:gd name="connsiteY11" fmla="*/ 2325842 h 2579210"/>
              <a:gd name="connsiteX12" fmla="*/ 269702 w 2177136"/>
              <a:gd name="connsiteY12" fmla="*/ 1324884 h 2579210"/>
              <a:gd name="connsiteX0" fmla="*/ 269702 w 2177136"/>
              <a:gd name="connsiteY0" fmla="*/ 1312321 h 2566647"/>
              <a:gd name="connsiteX1" fmla="*/ 121009 w 2177136"/>
              <a:gd name="connsiteY1" fmla="*/ 376725 h 2566647"/>
              <a:gd name="connsiteX2" fmla="*/ 390987 w 2177136"/>
              <a:gd name="connsiteY2" fmla="*/ 1343 h 2566647"/>
              <a:gd name="connsiteX3" fmla="*/ 2174041 w 2177136"/>
              <a:gd name="connsiteY3" fmla="*/ 0 h 2566647"/>
              <a:gd name="connsiteX4" fmla="*/ 2176201 w 2177136"/>
              <a:gd name="connsiteY4" fmla="*/ 1844891 h 2566647"/>
              <a:gd name="connsiteX5" fmla="*/ 2069474 w 2177136"/>
              <a:gd name="connsiteY5" fmla="*/ 2023422 h 2566647"/>
              <a:gd name="connsiteX6" fmla="*/ 1923620 w 2177136"/>
              <a:gd name="connsiteY6" fmla="*/ 1995169 h 2566647"/>
              <a:gd name="connsiteX7" fmla="*/ 1505260 w 2177136"/>
              <a:gd name="connsiteY7" fmla="*/ 2020785 h 2566647"/>
              <a:gd name="connsiteX8" fmla="*/ 1423529 w 2177136"/>
              <a:gd name="connsiteY8" fmla="*/ 2447900 h 2566647"/>
              <a:gd name="connsiteX9" fmla="*/ 1503470 w 2177136"/>
              <a:gd name="connsiteY9" fmla="*/ 2564752 h 2566647"/>
              <a:gd name="connsiteX10" fmla="*/ 47725 w 2177136"/>
              <a:gd name="connsiteY10" fmla="*/ 2566647 h 2566647"/>
              <a:gd name="connsiteX11" fmla="*/ 1 w 2177136"/>
              <a:gd name="connsiteY11" fmla="*/ 2313279 h 2566647"/>
              <a:gd name="connsiteX12" fmla="*/ 269702 w 2177136"/>
              <a:gd name="connsiteY12" fmla="*/ 1312321 h 2566647"/>
              <a:gd name="connsiteX0" fmla="*/ 269702 w 2177136"/>
              <a:gd name="connsiteY0" fmla="*/ 1312321 h 2566647"/>
              <a:gd name="connsiteX1" fmla="*/ 121009 w 2177136"/>
              <a:gd name="connsiteY1" fmla="*/ 376725 h 2566647"/>
              <a:gd name="connsiteX2" fmla="*/ 390987 w 2177136"/>
              <a:gd name="connsiteY2" fmla="*/ 1343 h 2566647"/>
              <a:gd name="connsiteX3" fmla="*/ 2174041 w 2177136"/>
              <a:gd name="connsiteY3" fmla="*/ 0 h 2566647"/>
              <a:gd name="connsiteX4" fmla="*/ 2176201 w 2177136"/>
              <a:gd name="connsiteY4" fmla="*/ 1844891 h 2566647"/>
              <a:gd name="connsiteX5" fmla="*/ 2069474 w 2177136"/>
              <a:gd name="connsiteY5" fmla="*/ 2023422 h 2566647"/>
              <a:gd name="connsiteX6" fmla="*/ 1923620 w 2177136"/>
              <a:gd name="connsiteY6" fmla="*/ 1995169 h 2566647"/>
              <a:gd name="connsiteX7" fmla="*/ 1505260 w 2177136"/>
              <a:gd name="connsiteY7" fmla="*/ 2020785 h 2566647"/>
              <a:gd name="connsiteX8" fmla="*/ 1423529 w 2177136"/>
              <a:gd name="connsiteY8" fmla="*/ 2447900 h 2566647"/>
              <a:gd name="connsiteX9" fmla="*/ 1503470 w 2177136"/>
              <a:gd name="connsiteY9" fmla="*/ 2564752 h 2566647"/>
              <a:gd name="connsiteX10" fmla="*/ 47725 w 2177136"/>
              <a:gd name="connsiteY10" fmla="*/ 2566647 h 2566647"/>
              <a:gd name="connsiteX11" fmla="*/ 1 w 2177136"/>
              <a:gd name="connsiteY11" fmla="*/ 2313279 h 2566647"/>
              <a:gd name="connsiteX12" fmla="*/ 269702 w 2177136"/>
              <a:gd name="connsiteY12" fmla="*/ 1312321 h 2566647"/>
              <a:gd name="connsiteX0" fmla="*/ 269702 w 2253929"/>
              <a:gd name="connsiteY0" fmla="*/ 1312321 h 2566647"/>
              <a:gd name="connsiteX1" fmla="*/ 121009 w 2253929"/>
              <a:gd name="connsiteY1" fmla="*/ 376725 h 2566647"/>
              <a:gd name="connsiteX2" fmla="*/ 390987 w 2253929"/>
              <a:gd name="connsiteY2" fmla="*/ 1343 h 2566647"/>
              <a:gd name="connsiteX3" fmla="*/ 2174041 w 2253929"/>
              <a:gd name="connsiteY3" fmla="*/ 0 h 2566647"/>
              <a:gd name="connsiteX4" fmla="*/ 2176201 w 2253929"/>
              <a:gd name="connsiteY4" fmla="*/ 1844891 h 2566647"/>
              <a:gd name="connsiteX5" fmla="*/ 2069474 w 2253929"/>
              <a:gd name="connsiteY5" fmla="*/ 2023422 h 2566647"/>
              <a:gd name="connsiteX6" fmla="*/ 1923620 w 2253929"/>
              <a:gd name="connsiteY6" fmla="*/ 1995169 h 2566647"/>
              <a:gd name="connsiteX7" fmla="*/ 2247564 w 2253929"/>
              <a:gd name="connsiteY7" fmla="*/ 2358196 h 2566647"/>
              <a:gd name="connsiteX8" fmla="*/ 1423529 w 2253929"/>
              <a:gd name="connsiteY8" fmla="*/ 2447900 h 2566647"/>
              <a:gd name="connsiteX9" fmla="*/ 1503470 w 2253929"/>
              <a:gd name="connsiteY9" fmla="*/ 2564752 h 2566647"/>
              <a:gd name="connsiteX10" fmla="*/ 47725 w 2253929"/>
              <a:gd name="connsiteY10" fmla="*/ 2566647 h 2566647"/>
              <a:gd name="connsiteX11" fmla="*/ 1 w 2253929"/>
              <a:gd name="connsiteY11" fmla="*/ 2313279 h 2566647"/>
              <a:gd name="connsiteX12" fmla="*/ 269702 w 2253929"/>
              <a:gd name="connsiteY12" fmla="*/ 1312321 h 2566647"/>
              <a:gd name="connsiteX0" fmla="*/ 269702 w 2254473"/>
              <a:gd name="connsiteY0" fmla="*/ 1312321 h 2583783"/>
              <a:gd name="connsiteX1" fmla="*/ 121009 w 2254473"/>
              <a:gd name="connsiteY1" fmla="*/ 376725 h 2583783"/>
              <a:gd name="connsiteX2" fmla="*/ 390987 w 2254473"/>
              <a:gd name="connsiteY2" fmla="*/ 1343 h 2583783"/>
              <a:gd name="connsiteX3" fmla="*/ 2174041 w 2254473"/>
              <a:gd name="connsiteY3" fmla="*/ 0 h 2583783"/>
              <a:gd name="connsiteX4" fmla="*/ 2176201 w 2254473"/>
              <a:gd name="connsiteY4" fmla="*/ 1844891 h 2583783"/>
              <a:gd name="connsiteX5" fmla="*/ 2069474 w 2254473"/>
              <a:gd name="connsiteY5" fmla="*/ 2023422 h 2583783"/>
              <a:gd name="connsiteX6" fmla="*/ 1923620 w 2254473"/>
              <a:gd name="connsiteY6" fmla="*/ 1995169 h 2583783"/>
              <a:gd name="connsiteX7" fmla="*/ 2247564 w 2254473"/>
              <a:gd name="connsiteY7" fmla="*/ 2358196 h 2583783"/>
              <a:gd name="connsiteX8" fmla="*/ 2173931 w 2254473"/>
              <a:gd name="connsiteY8" fmla="*/ 2545075 h 2583783"/>
              <a:gd name="connsiteX9" fmla="*/ 1503470 w 2254473"/>
              <a:gd name="connsiteY9" fmla="*/ 2564752 h 2583783"/>
              <a:gd name="connsiteX10" fmla="*/ 47725 w 2254473"/>
              <a:gd name="connsiteY10" fmla="*/ 2566647 h 2583783"/>
              <a:gd name="connsiteX11" fmla="*/ 1 w 2254473"/>
              <a:gd name="connsiteY11" fmla="*/ 2313279 h 2583783"/>
              <a:gd name="connsiteX12" fmla="*/ 269702 w 2254473"/>
              <a:gd name="connsiteY12" fmla="*/ 1312321 h 2583783"/>
              <a:gd name="connsiteX0" fmla="*/ 269702 w 2285305"/>
              <a:gd name="connsiteY0" fmla="*/ 1312321 h 2566647"/>
              <a:gd name="connsiteX1" fmla="*/ 121009 w 2285305"/>
              <a:gd name="connsiteY1" fmla="*/ 376725 h 2566647"/>
              <a:gd name="connsiteX2" fmla="*/ 390987 w 2285305"/>
              <a:gd name="connsiteY2" fmla="*/ 1343 h 2566647"/>
              <a:gd name="connsiteX3" fmla="*/ 2174041 w 2285305"/>
              <a:gd name="connsiteY3" fmla="*/ 0 h 2566647"/>
              <a:gd name="connsiteX4" fmla="*/ 2176201 w 2285305"/>
              <a:gd name="connsiteY4" fmla="*/ 1844891 h 2566647"/>
              <a:gd name="connsiteX5" fmla="*/ 2069474 w 2285305"/>
              <a:gd name="connsiteY5" fmla="*/ 2023422 h 2566647"/>
              <a:gd name="connsiteX6" fmla="*/ 1923620 w 2285305"/>
              <a:gd name="connsiteY6" fmla="*/ 1995169 h 2566647"/>
              <a:gd name="connsiteX7" fmla="*/ 2247564 w 2285305"/>
              <a:gd name="connsiteY7" fmla="*/ 2358196 h 2566647"/>
              <a:gd name="connsiteX8" fmla="*/ 2173931 w 2285305"/>
              <a:gd name="connsiteY8" fmla="*/ 2545075 h 2566647"/>
              <a:gd name="connsiteX9" fmla="*/ 1503470 w 2285305"/>
              <a:gd name="connsiteY9" fmla="*/ 2564752 h 2566647"/>
              <a:gd name="connsiteX10" fmla="*/ 47725 w 2285305"/>
              <a:gd name="connsiteY10" fmla="*/ 2566647 h 2566647"/>
              <a:gd name="connsiteX11" fmla="*/ 1 w 2285305"/>
              <a:gd name="connsiteY11" fmla="*/ 2313279 h 2566647"/>
              <a:gd name="connsiteX12" fmla="*/ 269702 w 2285305"/>
              <a:gd name="connsiteY12" fmla="*/ 1312321 h 2566647"/>
              <a:gd name="connsiteX0" fmla="*/ 269702 w 2268298"/>
              <a:gd name="connsiteY0" fmla="*/ 1312321 h 2566647"/>
              <a:gd name="connsiteX1" fmla="*/ 121009 w 2268298"/>
              <a:gd name="connsiteY1" fmla="*/ 376725 h 2566647"/>
              <a:gd name="connsiteX2" fmla="*/ 390987 w 2268298"/>
              <a:gd name="connsiteY2" fmla="*/ 1343 h 2566647"/>
              <a:gd name="connsiteX3" fmla="*/ 2174041 w 2268298"/>
              <a:gd name="connsiteY3" fmla="*/ 0 h 2566647"/>
              <a:gd name="connsiteX4" fmla="*/ 2176201 w 2268298"/>
              <a:gd name="connsiteY4" fmla="*/ 1844891 h 2566647"/>
              <a:gd name="connsiteX5" fmla="*/ 2069474 w 2268298"/>
              <a:gd name="connsiteY5" fmla="*/ 2023422 h 2566647"/>
              <a:gd name="connsiteX6" fmla="*/ 2188150 w 2268298"/>
              <a:gd name="connsiteY6" fmla="*/ 2127434 h 2566647"/>
              <a:gd name="connsiteX7" fmla="*/ 2247564 w 2268298"/>
              <a:gd name="connsiteY7" fmla="*/ 2358196 h 2566647"/>
              <a:gd name="connsiteX8" fmla="*/ 2173931 w 2268298"/>
              <a:gd name="connsiteY8" fmla="*/ 2545075 h 2566647"/>
              <a:gd name="connsiteX9" fmla="*/ 1503470 w 2268298"/>
              <a:gd name="connsiteY9" fmla="*/ 2564752 h 2566647"/>
              <a:gd name="connsiteX10" fmla="*/ 47725 w 2268298"/>
              <a:gd name="connsiteY10" fmla="*/ 2566647 h 2566647"/>
              <a:gd name="connsiteX11" fmla="*/ 1 w 2268298"/>
              <a:gd name="connsiteY11" fmla="*/ 2313279 h 2566647"/>
              <a:gd name="connsiteX12" fmla="*/ 269702 w 2268298"/>
              <a:gd name="connsiteY12" fmla="*/ 1312321 h 2566647"/>
              <a:gd name="connsiteX0" fmla="*/ 269702 w 2268298"/>
              <a:gd name="connsiteY0" fmla="*/ 1312321 h 2566647"/>
              <a:gd name="connsiteX1" fmla="*/ 121009 w 2268298"/>
              <a:gd name="connsiteY1" fmla="*/ 376725 h 2566647"/>
              <a:gd name="connsiteX2" fmla="*/ 390987 w 2268298"/>
              <a:gd name="connsiteY2" fmla="*/ 1343 h 2566647"/>
              <a:gd name="connsiteX3" fmla="*/ 2174041 w 2268298"/>
              <a:gd name="connsiteY3" fmla="*/ 0 h 2566647"/>
              <a:gd name="connsiteX4" fmla="*/ 2176201 w 2268298"/>
              <a:gd name="connsiteY4" fmla="*/ 1844891 h 2566647"/>
              <a:gd name="connsiteX5" fmla="*/ 2069474 w 2268298"/>
              <a:gd name="connsiteY5" fmla="*/ 2023422 h 2566647"/>
              <a:gd name="connsiteX6" fmla="*/ 2188150 w 2268298"/>
              <a:gd name="connsiteY6" fmla="*/ 2127434 h 2566647"/>
              <a:gd name="connsiteX7" fmla="*/ 2247564 w 2268298"/>
              <a:gd name="connsiteY7" fmla="*/ 2358196 h 2566647"/>
              <a:gd name="connsiteX8" fmla="*/ 2173931 w 2268298"/>
              <a:gd name="connsiteY8" fmla="*/ 2545075 h 2566647"/>
              <a:gd name="connsiteX9" fmla="*/ 1503470 w 2268298"/>
              <a:gd name="connsiteY9" fmla="*/ 2564752 h 2566647"/>
              <a:gd name="connsiteX10" fmla="*/ 47725 w 2268298"/>
              <a:gd name="connsiteY10" fmla="*/ 2566647 h 2566647"/>
              <a:gd name="connsiteX11" fmla="*/ 1 w 2268298"/>
              <a:gd name="connsiteY11" fmla="*/ 2313279 h 2566647"/>
              <a:gd name="connsiteX12" fmla="*/ 269702 w 2268298"/>
              <a:gd name="connsiteY12" fmla="*/ 1312321 h 2566647"/>
              <a:gd name="connsiteX0" fmla="*/ 269702 w 2268298"/>
              <a:gd name="connsiteY0" fmla="*/ 1312321 h 2566647"/>
              <a:gd name="connsiteX1" fmla="*/ 121009 w 2268298"/>
              <a:gd name="connsiteY1" fmla="*/ 376725 h 2566647"/>
              <a:gd name="connsiteX2" fmla="*/ 390987 w 2268298"/>
              <a:gd name="connsiteY2" fmla="*/ 1343 h 2566647"/>
              <a:gd name="connsiteX3" fmla="*/ 2174041 w 2268298"/>
              <a:gd name="connsiteY3" fmla="*/ 0 h 2566647"/>
              <a:gd name="connsiteX4" fmla="*/ 2176201 w 2268298"/>
              <a:gd name="connsiteY4" fmla="*/ 1844891 h 2566647"/>
              <a:gd name="connsiteX5" fmla="*/ 2169348 w 2268298"/>
              <a:gd name="connsiteY5" fmla="*/ 2015325 h 2566647"/>
              <a:gd name="connsiteX6" fmla="*/ 2188150 w 2268298"/>
              <a:gd name="connsiteY6" fmla="*/ 2127434 h 2566647"/>
              <a:gd name="connsiteX7" fmla="*/ 2247564 w 2268298"/>
              <a:gd name="connsiteY7" fmla="*/ 2358196 h 2566647"/>
              <a:gd name="connsiteX8" fmla="*/ 2173931 w 2268298"/>
              <a:gd name="connsiteY8" fmla="*/ 2545075 h 2566647"/>
              <a:gd name="connsiteX9" fmla="*/ 1503470 w 2268298"/>
              <a:gd name="connsiteY9" fmla="*/ 2564752 h 2566647"/>
              <a:gd name="connsiteX10" fmla="*/ 47725 w 2268298"/>
              <a:gd name="connsiteY10" fmla="*/ 2566647 h 2566647"/>
              <a:gd name="connsiteX11" fmla="*/ 1 w 2268298"/>
              <a:gd name="connsiteY11" fmla="*/ 2313279 h 2566647"/>
              <a:gd name="connsiteX12" fmla="*/ 269702 w 2268298"/>
              <a:gd name="connsiteY12" fmla="*/ 1312321 h 2566647"/>
              <a:gd name="connsiteX0" fmla="*/ 269702 w 2268298"/>
              <a:gd name="connsiteY0" fmla="*/ 1312321 h 2566647"/>
              <a:gd name="connsiteX1" fmla="*/ 121009 w 2268298"/>
              <a:gd name="connsiteY1" fmla="*/ 376725 h 2566647"/>
              <a:gd name="connsiteX2" fmla="*/ 390987 w 2268298"/>
              <a:gd name="connsiteY2" fmla="*/ 1343 h 2566647"/>
              <a:gd name="connsiteX3" fmla="*/ 2174041 w 2268298"/>
              <a:gd name="connsiteY3" fmla="*/ 0 h 2566647"/>
              <a:gd name="connsiteX4" fmla="*/ 2176201 w 2268298"/>
              <a:gd name="connsiteY4" fmla="*/ 1844891 h 2566647"/>
              <a:gd name="connsiteX5" fmla="*/ 2188150 w 2268298"/>
              <a:gd name="connsiteY5" fmla="*/ 2127434 h 2566647"/>
              <a:gd name="connsiteX6" fmla="*/ 2247564 w 2268298"/>
              <a:gd name="connsiteY6" fmla="*/ 2358196 h 2566647"/>
              <a:gd name="connsiteX7" fmla="*/ 2173931 w 2268298"/>
              <a:gd name="connsiteY7" fmla="*/ 2545075 h 2566647"/>
              <a:gd name="connsiteX8" fmla="*/ 1503470 w 2268298"/>
              <a:gd name="connsiteY8" fmla="*/ 2564752 h 2566647"/>
              <a:gd name="connsiteX9" fmla="*/ 47725 w 2268298"/>
              <a:gd name="connsiteY9" fmla="*/ 2566647 h 2566647"/>
              <a:gd name="connsiteX10" fmla="*/ 1 w 2268298"/>
              <a:gd name="connsiteY10" fmla="*/ 2313279 h 2566647"/>
              <a:gd name="connsiteX11" fmla="*/ 269702 w 2268298"/>
              <a:gd name="connsiteY11" fmla="*/ 1312321 h 2566647"/>
              <a:gd name="connsiteX0" fmla="*/ 269702 w 2228520"/>
              <a:gd name="connsiteY0" fmla="*/ 1312321 h 2566647"/>
              <a:gd name="connsiteX1" fmla="*/ 121009 w 2228520"/>
              <a:gd name="connsiteY1" fmla="*/ 376725 h 2566647"/>
              <a:gd name="connsiteX2" fmla="*/ 390987 w 2228520"/>
              <a:gd name="connsiteY2" fmla="*/ 1343 h 2566647"/>
              <a:gd name="connsiteX3" fmla="*/ 2174041 w 2228520"/>
              <a:gd name="connsiteY3" fmla="*/ 0 h 2566647"/>
              <a:gd name="connsiteX4" fmla="*/ 2176201 w 2228520"/>
              <a:gd name="connsiteY4" fmla="*/ 1844891 h 2566647"/>
              <a:gd name="connsiteX5" fmla="*/ 2188150 w 2228520"/>
              <a:gd name="connsiteY5" fmla="*/ 2127434 h 2566647"/>
              <a:gd name="connsiteX6" fmla="*/ 2173931 w 2228520"/>
              <a:gd name="connsiteY6" fmla="*/ 2545075 h 2566647"/>
              <a:gd name="connsiteX7" fmla="*/ 1503470 w 2228520"/>
              <a:gd name="connsiteY7" fmla="*/ 2564752 h 2566647"/>
              <a:gd name="connsiteX8" fmla="*/ 47725 w 2228520"/>
              <a:gd name="connsiteY8" fmla="*/ 2566647 h 2566647"/>
              <a:gd name="connsiteX9" fmla="*/ 1 w 2228520"/>
              <a:gd name="connsiteY9" fmla="*/ 2313279 h 2566647"/>
              <a:gd name="connsiteX10" fmla="*/ 269702 w 2228520"/>
              <a:gd name="connsiteY10" fmla="*/ 1312321 h 2566647"/>
              <a:gd name="connsiteX0" fmla="*/ 269702 w 2224354"/>
              <a:gd name="connsiteY0" fmla="*/ 1312321 h 2566647"/>
              <a:gd name="connsiteX1" fmla="*/ 121009 w 2224354"/>
              <a:gd name="connsiteY1" fmla="*/ 376725 h 2566647"/>
              <a:gd name="connsiteX2" fmla="*/ 390987 w 2224354"/>
              <a:gd name="connsiteY2" fmla="*/ 1343 h 2566647"/>
              <a:gd name="connsiteX3" fmla="*/ 2174041 w 2224354"/>
              <a:gd name="connsiteY3" fmla="*/ 0 h 2566647"/>
              <a:gd name="connsiteX4" fmla="*/ 2176201 w 2224354"/>
              <a:gd name="connsiteY4" fmla="*/ 1844891 h 2566647"/>
              <a:gd name="connsiteX5" fmla="*/ 2173931 w 2224354"/>
              <a:gd name="connsiteY5" fmla="*/ 2545075 h 2566647"/>
              <a:gd name="connsiteX6" fmla="*/ 1503470 w 2224354"/>
              <a:gd name="connsiteY6" fmla="*/ 2564752 h 2566647"/>
              <a:gd name="connsiteX7" fmla="*/ 47725 w 2224354"/>
              <a:gd name="connsiteY7" fmla="*/ 2566647 h 2566647"/>
              <a:gd name="connsiteX8" fmla="*/ 1 w 2224354"/>
              <a:gd name="connsiteY8" fmla="*/ 2313279 h 2566647"/>
              <a:gd name="connsiteX9" fmla="*/ 269702 w 2224354"/>
              <a:gd name="connsiteY9" fmla="*/ 1312321 h 2566647"/>
              <a:gd name="connsiteX0" fmla="*/ 269702 w 2176201"/>
              <a:gd name="connsiteY0" fmla="*/ 1312321 h 2566647"/>
              <a:gd name="connsiteX1" fmla="*/ 121009 w 2176201"/>
              <a:gd name="connsiteY1" fmla="*/ 376725 h 2566647"/>
              <a:gd name="connsiteX2" fmla="*/ 390987 w 2176201"/>
              <a:gd name="connsiteY2" fmla="*/ 1343 h 2566647"/>
              <a:gd name="connsiteX3" fmla="*/ 2174041 w 2176201"/>
              <a:gd name="connsiteY3" fmla="*/ 0 h 2566647"/>
              <a:gd name="connsiteX4" fmla="*/ 2176201 w 2176201"/>
              <a:gd name="connsiteY4" fmla="*/ 1844891 h 2566647"/>
              <a:gd name="connsiteX5" fmla="*/ 2173931 w 2176201"/>
              <a:gd name="connsiteY5" fmla="*/ 2545075 h 2566647"/>
              <a:gd name="connsiteX6" fmla="*/ 1503470 w 2176201"/>
              <a:gd name="connsiteY6" fmla="*/ 2564752 h 2566647"/>
              <a:gd name="connsiteX7" fmla="*/ 47725 w 2176201"/>
              <a:gd name="connsiteY7" fmla="*/ 2566647 h 2566647"/>
              <a:gd name="connsiteX8" fmla="*/ 1 w 2176201"/>
              <a:gd name="connsiteY8" fmla="*/ 2313279 h 2566647"/>
              <a:gd name="connsiteX9" fmla="*/ 269702 w 2176201"/>
              <a:gd name="connsiteY9" fmla="*/ 1312321 h 2566647"/>
              <a:gd name="connsiteX0" fmla="*/ 269702 w 2178467"/>
              <a:gd name="connsiteY0" fmla="*/ 1312321 h 2566647"/>
              <a:gd name="connsiteX1" fmla="*/ 121009 w 2178467"/>
              <a:gd name="connsiteY1" fmla="*/ 376725 h 2566647"/>
              <a:gd name="connsiteX2" fmla="*/ 390987 w 2178467"/>
              <a:gd name="connsiteY2" fmla="*/ 1343 h 2566647"/>
              <a:gd name="connsiteX3" fmla="*/ 2174041 w 2178467"/>
              <a:gd name="connsiteY3" fmla="*/ 0 h 2566647"/>
              <a:gd name="connsiteX4" fmla="*/ 2176201 w 2178467"/>
              <a:gd name="connsiteY4" fmla="*/ 1844891 h 2566647"/>
              <a:gd name="connsiteX5" fmla="*/ 2178466 w 2178467"/>
              <a:gd name="connsiteY5" fmla="*/ 2554145 h 2566647"/>
              <a:gd name="connsiteX6" fmla="*/ 1503470 w 2178467"/>
              <a:gd name="connsiteY6" fmla="*/ 2564752 h 2566647"/>
              <a:gd name="connsiteX7" fmla="*/ 47725 w 2178467"/>
              <a:gd name="connsiteY7" fmla="*/ 2566647 h 2566647"/>
              <a:gd name="connsiteX8" fmla="*/ 1 w 2178467"/>
              <a:gd name="connsiteY8" fmla="*/ 2313279 h 2566647"/>
              <a:gd name="connsiteX9" fmla="*/ 269702 w 2178467"/>
              <a:gd name="connsiteY9" fmla="*/ 1312321 h 2566647"/>
              <a:gd name="connsiteX0" fmla="*/ 269702 w 2203409"/>
              <a:gd name="connsiteY0" fmla="*/ 1312321 h 2579121"/>
              <a:gd name="connsiteX1" fmla="*/ 121009 w 2203409"/>
              <a:gd name="connsiteY1" fmla="*/ 376725 h 2579121"/>
              <a:gd name="connsiteX2" fmla="*/ 390987 w 2203409"/>
              <a:gd name="connsiteY2" fmla="*/ 1343 h 2579121"/>
              <a:gd name="connsiteX3" fmla="*/ 2174041 w 2203409"/>
              <a:gd name="connsiteY3" fmla="*/ 0 h 2579121"/>
              <a:gd name="connsiteX4" fmla="*/ 2176201 w 2203409"/>
              <a:gd name="connsiteY4" fmla="*/ 1844891 h 2579121"/>
              <a:gd name="connsiteX5" fmla="*/ 2203408 w 2203409"/>
              <a:gd name="connsiteY5" fmla="*/ 2579086 h 2579121"/>
              <a:gd name="connsiteX6" fmla="*/ 1503470 w 2203409"/>
              <a:gd name="connsiteY6" fmla="*/ 2564752 h 2579121"/>
              <a:gd name="connsiteX7" fmla="*/ 47725 w 2203409"/>
              <a:gd name="connsiteY7" fmla="*/ 2566647 h 2579121"/>
              <a:gd name="connsiteX8" fmla="*/ 1 w 2203409"/>
              <a:gd name="connsiteY8" fmla="*/ 2313279 h 2579121"/>
              <a:gd name="connsiteX9" fmla="*/ 269702 w 2203409"/>
              <a:gd name="connsiteY9" fmla="*/ 1312321 h 2579121"/>
              <a:gd name="connsiteX0" fmla="*/ 269702 w 2198874"/>
              <a:gd name="connsiteY0" fmla="*/ 1312321 h 2566647"/>
              <a:gd name="connsiteX1" fmla="*/ 121009 w 2198874"/>
              <a:gd name="connsiteY1" fmla="*/ 376725 h 2566647"/>
              <a:gd name="connsiteX2" fmla="*/ 390987 w 2198874"/>
              <a:gd name="connsiteY2" fmla="*/ 1343 h 2566647"/>
              <a:gd name="connsiteX3" fmla="*/ 2174041 w 2198874"/>
              <a:gd name="connsiteY3" fmla="*/ 0 h 2566647"/>
              <a:gd name="connsiteX4" fmla="*/ 2176201 w 2198874"/>
              <a:gd name="connsiteY4" fmla="*/ 1844891 h 2566647"/>
              <a:gd name="connsiteX5" fmla="*/ 2198873 w 2198874"/>
              <a:gd name="connsiteY5" fmla="*/ 2551877 h 2566647"/>
              <a:gd name="connsiteX6" fmla="*/ 1503470 w 2198874"/>
              <a:gd name="connsiteY6" fmla="*/ 2564752 h 2566647"/>
              <a:gd name="connsiteX7" fmla="*/ 47725 w 2198874"/>
              <a:gd name="connsiteY7" fmla="*/ 2566647 h 2566647"/>
              <a:gd name="connsiteX8" fmla="*/ 1 w 2198874"/>
              <a:gd name="connsiteY8" fmla="*/ 2313279 h 2566647"/>
              <a:gd name="connsiteX9" fmla="*/ 269702 w 2198874"/>
              <a:gd name="connsiteY9" fmla="*/ 1312321 h 2566647"/>
              <a:gd name="connsiteX0" fmla="*/ 269702 w 2198874"/>
              <a:gd name="connsiteY0" fmla="*/ 1312321 h 2566647"/>
              <a:gd name="connsiteX1" fmla="*/ 121009 w 2198874"/>
              <a:gd name="connsiteY1" fmla="*/ 376725 h 2566647"/>
              <a:gd name="connsiteX2" fmla="*/ 390987 w 2198874"/>
              <a:gd name="connsiteY2" fmla="*/ 1343 h 2566647"/>
              <a:gd name="connsiteX3" fmla="*/ 2174041 w 2198874"/>
              <a:gd name="connsiteY3" fmla="*/ 0 h 2566647"/>
              <a:gd name="connsiteX4" fmla="*/ 2176201 w 2198874"/>
              <a:gd name="connsiteY4" fmla="*/ 1844891 h 2566647"/>
              <a:gd name="connsiteX5" fmla="*/ 2198873 w 2198874"/>
              <a:gd name="connsiteY5" fmla="*/ 2551877 h 2566647"/>
              <a:gd name="connsiteX6" fmla="*/ 1503470 w 2198874"/>
              <a:gd name="connsiteY6" fmla="*/ 2564752 h 2566647"/>
              <a:gd name="connsiteX7" fmla="*/ 47725 w 2198874"/>
              <a:gd name="connsiteY7" fmla="*/ 2566647 h 2566647"/>
              <a:gd name="connsiteX8" fmla="*/ 1 w 2198874"/>
              <a:gd name="connsiteY8" fmla="*/ 2313279 h 2566647"/>
              <a:gd name="connsiteX9" fmla="*/ 269702 w 2198874"/>
              <a:gd name="connsiteY9" fmla="*/ 1312321 h 2566647"/>
              <a:gd name="connsiteX0" fmla="*/ 344008 w 2273180"/>
              <a:gd name="connsiteY0" fmla="*/ 1312321 h 2579300"/>
              <a:gd name="connsiteX1" fmla="*/ 195315 w 2273180"/>
              <a:gd name="connsiteY1" fmla="*/ 376725 h 2579300"/>
              <a:gd name="connsiteX2" fmla="*/ 465293 w 2273180"/>
              <a:gd name="connsiteY2" fmla="*/ 1343 h 2579300"/>
              <a:gd name="connsiteX3" fmla="*/ 2248347 w 2273180"/>
              <a:gd name="connsiteY3" fmla="*/ 0 h 2579300"/>
              <a:gd name="connsiteX4" fmla="*/ 2250507 w 2273180"/>
              <a:gd name="connsiteY4" fmla="*/ 1844891 h 2579300"/>
              <a:gd name="connsiteX5" fmla="*/ 2273179 w 2273180"/>
              <a:gd name="connsiteY5" fmla="*/ 2551877 h 2579300"/>
              <a:gd name="connsiteX6" fmla="*/ 1577776 w 2273180"/>
              <a:gd name="connsiteY6" fmla="*/ 2564752 h 2579300"/>
              <a:gd name="connsiteX7" fmla="*/ 122031 w 2273180"/>
              <a:gd name="connsiteY7" fmla="*/ 2566647 h 2579300"/>
              <a:gd name="connsiteX8" fmla="*/ 77112 w 2273180"/>
              <a:gd name="connsiteY8" fmla="*/ 2383688 h 2579300"/>
              <a:gd name="connsiteX9" fmla="*/ 74307 w 2273180"/>
              <a:gd name="connsiteY9" fmla="*/ 2313279 h 2579300"/>
              <a:gd name="connsiteX10" fmla="*/ 344008 w 2273180"/>
              <a:gd name="connsiteY10" fmla="*/ 1312321 h 2579300"/>
              <a:gd name="connsiteX0" fmla="*/ 344008 w 2273180"/>
              <a:gd name="connsiteY0" fmla="*/ 1312321 h 2579300"/>
              <a:gd name="connsiteX1" fmla="*/ 195315 w 2273180"/>
              <a:gd name="connsiteY1" fmla="*/ 376725 h 2579300"/>
              <a:gd name="connsiteX2" fmla="*/ 465293 w 2273180"/>
              <a:gd name="connsiteY2" fmla="*/ 1343 h 2579300"/>
              <a:gd name="connsiteX3" fmla="*/ 2248347 w 2273180"/>
              <a:gd name="connsiteY3" fmla="*/ 0 h 2579300"/>
              <a:gd name="connsiteX4" fmla="*/ 2250507 w 2273180"/>
              <a:gd name="connsiteY4" fmla="*/ 1844891 h 2579300"/>
              <a:gd name="connsiteX5" fmla="*/ 2273179 w 2273180"/>
              <a:gd name="connsiteY5" fmla="*/ 2551877 h 2579300"/>
              <a:gd name="connsiteX6" fmla="*/ 1577776 w 2273180"/>
              <a:gd name="connsiteY6" fmla="*/ 2564752 h 2579300"/>
              <a:gd name="connsiteX7" fmla="*/ 122031 w 2273180"/>
              <a:gd name="connsiteY7" fmla="*/ 2566647 h 2579300"/>
              <a:gd name="connsiteX8" fmla="*/ 77112 w 2273180"/>
              <a:gd name="connsiteY8" fmla="*/ 2383688 h 2579300"/>
              <a:gd name="connsiteX9" fmla="*/ 74307 w 2273180"/>
              <a:gd name="connsiteY9" fmla="*/ 2313279 h 2579300"/>
              <a:gd name="connsiteX10" fmla="*/ 344008 w 2273180"/>
              <a:gd name="connsiteY10" fmla="*/ 1312321 h 2579300"/>
              <a:gd name="connsiteX0" fmla="*/ 344008 w 2273180"/>
              <a:gd name="connsiteY0" fmla="*/ 1312321 h 2579300"/>
              <a:gd name="connsiteX1" fmla="*/ 195315 w 2273180"/>
              <a:gd name="connsiteY1" fmla="*/ 376725 h 2579300"/>
              <a:gd name="connsiteX2" fmla="*/ 465293 w 2273180"/>
              <a:gd name="connsiteY2" fmla="*/ 1343 h 2579300"/>
              <a:gd name="connsiteX3" fmla="*/ 2248347 w 2273180"/>
              <a:gd name="connsiteY3" fmla="*/ 0 h 2579300"/>
              <a:gd name="connsiteX4" fmla="*/ 2250507 w 2273180"/>
              <a:gd name="connsiteY4" fmla="*/ 1844891 h 2579300"/>
              <a:gd name="connsiteX5" fmla="*/ 2273179 w 2273180"/>
              <a:gd name="connsiteY5" fmla="*/ 2551877 h 2579300"/>
              <a:gd name="connsiteX6" fmla="*/ 1577776 w 2273180"/>
              <a:gd name="connsiteY6" fmla="*/ 2564752 h 2579300"/>
              <a:gd name="connsiteX7" fmla="*/ 122031 w 2273180"/>
              <a:gd name="connsiteY7" fmla="*/ 2566647 h 2579300"/>
              <a:gd name="connsiteX8" fmla="*/ 77112 w 2273180"/>
              <a:gd name="connsiteY8" fmla="*/ 2383688 h 2579300"/>
              <a:gd name="connsiteX9" fmla="*/ 74307 w 2273180"/>
              <a:gd name="connsiteY9" fmla="*/ 2313279 h 2579300"/>
              <a:gd name="connsiteX10" fmla="*/ 344008 w 2273180"/>
              <a:gd name="connsiteY10" fmla="*/ 1312321 h 2579300"/>
              <a:gd name="connsiteX0" fmla="*/ 344008 w 2273180"/>
              <a:gd name="connsiteY0" fmla="*/ 1312321 h 2579300"/>
              <a:gd name="connsiteX1" fmla="*/ 195315 w 2273180"/>
              <a:gd name="connsiteY1" fmla="*/ 376725 h 2579300"/>
              <a:gd name="connsiteX2" fmla="*/ 465293 w 2273180"/>
              <a:gd name="connsiteY2" fmla="*/ 1343 h 2579300"/>
              <a:gd name="connsiteX3" fmla="*/ 2248347 w 2273180"/>
              <a:gd name="connsiteY3" fmla="*/ 0 h 2579300"/>
              <a:gd name="connsiteX4" fmla="*/ 2250507 w 2273180"/>
              <a:gd name="connsiteY4" fmla="*/ 1844891 h 2579300"/>
              <a:gd name="connsiteX5" fmla="*/ 2273179 w 2273180"/>
              <a:gd name="connsiteY5" fmla="*/ 2551877 h 2579300"/>
              <a:gd name="connsiteX6" fmla="*/ 1577776 w 2273180"/>
              <a:gd name="connsiteY6" fmla="*/ 2564752 h 2579300"/>
              <a:gd name="connsiteX7" fmla="*/ 122031 w 2273180"/>
              <a:gd name="connsiteY7" fmla="*/ 2566647 h 2579300"/>
              <a:gd name="connsiteX8" fmla="*/ 77112 w 2273180"/>
              <a:gd name="connsiteY8" fmla="*/ 2383688 h 2579300"/>
              <a:gd name="connsiteX9" fmla="*/ 74307 w 2273180"/>
              <a:gd name="connsiteY9" fmla="*/ 2313279 h 2579300"/>
              <a:gd name="connsiteX10" fmla="*/ 344008 w 2273180"/>
              <a:gd name="connsiteY10" fmla="*/ 1312321 h 2579300"/>
              <a:gd name="connsiteX0" fmla="*/ 270497 w 2199671"/>
              <a:gd name="connsiteY0" fmla="*/ 1312321 h 2574747"/>
              <a:gd name="connsiteX1" fmla="*/ 121804 w 2199671"/>
              <a:gd name="connsiteY1" fmla="*/ 376725 h 2574747"/>
              <a:gd name="connsiteX2" fmla="*/ 391782 w 2199671"/>
              <a:gd name="connsiteY2" fmla="*/ 1343 h 2574747"/>
              <a:gd name="connsiteX3" fmla="*/ 2174836 w 2199671"/>
              <a:gd name="connsiteY3" fmla="*/ 0 h 2574747"/>
              <a:gd name="connsiteX4" fmla="*/ 2176996 w 2199671"/>
              <a:gd name="connsiteY4" fmla="*/ 1844891 h 2574747"/>
              <a:gd name="connsiteX5" fmla="*/ 2199668 w 2199671"/>
              <a:gd name="connsiteY5" fmla="*/ 2551877 h 2574747"/>
              <a:gd name="connsiteX6" fmla="*/ 1504265 w 2199671"/>
              <a:gd name="connsiteY6" fmla="*/ 2564752 h 2574747"/>
              <a:gd name="connsiteX7" fmla="*/ 3601 w 2199671"/>
              <a:gd name="connsiteY7" fmla="*/ 2383688 h 2574747"/>
              <a:gd name="connsiteX8" fmla="*/ 796 w 2199671"/>
              <a:gd name="connsiteY8" fmla="*/ 2313279 h 2574747"/>
              <a:gd name="connsiteX9" fmla="*/ 270497 w 2199671"/>
              <a:gd name="connsiteY9" fmla="*/ 1312321 h 2574747"/>
              <a:gd name="connsiteX0" fmla="*/ 270497 w 2355853"/>
              <a:gd name="connsiteY0" fmla="*/ 1312321 h 2573361"/>
              <a:gd name="connsiteX1" fmla="*/ 121804 w 2355853"/>
              <a:gd name="connsiteY1" fmla="*/ 376725 h 2573361"/>
              <a:gd name="connsiteX2" fmla="*/ 391782 w 2355853"/>
              <a:gd name="connsiteY2" fmla="*/ 1343 h 2573361"/>
              <a:gd name="connsiteX3" fmla="*/ 2174836 w 2355853"/>
              <a:gd name="connsiteY3" fmla="*/ 0 h 2573361"/>
              <a:gd name="connsiteX4" fmla="*/ 2176996 w 2355853"/>
              <a:gd name="connsiteY4" fmla="*/ 1844891 h 2573361"/>
              <a:gd name="connsiteX5" fmla="*/ 2199668 w 2355853"/>
              <a:gd name="connsiteY5" fmla="*/ 2551877 h 2573361"/>
              <a:gd name="connsiteX6" fmla="*/ 3601 w 2355853"/>
              <a:gd name="connsiteY6" fmla="*/ 2383688 h 2573361"/>
              <a:gd name="connsiteX7" fmla="*/ 796 w 2355853"/>
              <a:gd name="connsiteY7" fmla="*/ 2313279 h 2573361"/>
              <a:gd name="connsiteX8" fmla="*/ 270497 w 2355853"/>
              <a:gd name="connsiteY8" fmla="*/ 1312321 h 2573361"/>
              <a:gd name="connsiteX0" fmla="*/ 270497 w 2337042"/>
              <a:gd name="connsiteY0" fmla="*/ 1312321 h 2383688"/>
              <a:gd name="connsiteX1" fmla="*/ 121804 w 2337042"/>
              <a:gd name="connsiteY1" fmla="*/ 376725 h 2383688"/>
              <a:gd name="connsiteX2" fmla="*/ 391782 w 2337042"/>
              <a:gd name="connsiteY2" fmla="*/ 1343 h 2383688"/>
              <a:gd name="connsiteX3" fmla="*/ 2174836 w 2337042"/>
              <a:gd name="connsiteY3" fmla="*/ 0 h 2383688"/>
              <a:gd name="connsiteX4" fmla="*/ 2176996 w 2337042"/>
              <a:gd name="connsiteY4" fmla="*/ 1844891 h 2383688"/>
              <a:gd name="connsiteX5" fmla="*/ 3601 w 2337042"/>
              <a:gd name="connsiteY5" fmla="*/ 2383688 h 2383688"/>
              <a:gd name="connsiteX6" fmla="*/ 796 w 2337042"/>
              <a:gd name="connsiteY6" fmla="*/ 2313279 h 2383688"/>
              <a:gd name="connsiteX7" fmla="*/ 270497 w 2337042"/>
              <a:gd name="connsiteY7" fmla="*/ 1312321 h 2383688"/>
              <a:gd name="connsiteX0" fmla="*/ 270497 w 2334176"/>
              <a:gd name="connsiteY0" fmla="*/ 1312321 h 2544922"/>
              <a:gd name="connsiteX1" fmla="*/ 121804 w 2334176"/>
              <a:gd name="connsiteY1" fmla="*/ 376725 h 2544922"/>
              <a:gd name="connsiteX2" fmla="*/ 391782 w 2334176"/>
              <a:gd name="connsiteY2" fmla="*/ 1343 h 2544922"/>
              <a:gd name="connsiteX3" fmla="*/ 2174836 w 2334176"/>
              <a:gd name="connsiteY3" fmla="*/ 0 h 2544922"/>
              <a:gd name="connsiteX4" fmla="*/ 2173131 w 2334176"/>
              <a:gd name="connsiteY4" fmla="*/ 2384687 h 2544922"/>
              <a:gd name="connsiteX5" fmla="*/ 3601 w 2334176"/>
              <a:gd name="connsiteY5" fmla="*/ 2383688 h 2544922"/>
              <a:gd name="connsiteX6" fmla="*/ 796 w 2334176"/>
              <a:gd name="connsiteY6" fmla="*/ 2313279 h 2544922"/>
              <a:gd name="connsiteX7" fmla="*/ 270497 w 2334176"/>
              <a:gd name="connsiteY7" fmla="*/ 1312321 h 2544922"/>
              <a:gd name="connsiteX0" fmla="*/ 270497 w 2174836"/>
              <a:gd name="connsiteY0" fmla="*/ 1312321 h 2384689"/>
              <a:gd name="connsiteX1" fmla="*/ 121804 w 2174836"/>
              <a:gd name="connsiteY1" fmla="*/ 376725 h 2384689"/>
              <a:gd name="connsiteX2" fmla="*/ 391782 w 2174836"/>
              <a:gd name="connsiteY2" fmla="*/ 1343 h 2384689"/>
              <a:gd name="connsiteX3" fmla="*/ 2174836 w 2174836"/>
              <a:gd name="connsiteY3" fmla="*/ 0 h 2384689"/>
              <a:gd name="connsiteX4" fmla="*/ 2173131 w 2174836"/>
              <a:gd name="connsiteY4" fmla="*/ 2384687 h 2384689"/>
              <a:gd name="connsiteX5" fmla="*/ 3601 w 2174836"/>
              <a:gd name="connsiteY5" fmla="*/ 2383688 h 2384689"/>
              <a:gd name="connsiteX6" fmla="*/ 796 w 2174836"/>
              <a:gd name="connsiteY6" fmla="*/ 2313279 h 2384689"/>
              <a:gd name="connsiteX7" fmla="*/ 270497 w 2174836"/>
              <a:gd name="connsiteY7" fmla="*/ 1312321 h 2384689"/>
              <a:gd name="connsiteX0" fmla="*/ 270497 w 2174836"/>
              <a:gd name="connsiteY0" fmla="*/ 1312321 h 2385067"/>
              <a:gd name="connsiteX1" fmla="*/ 121804 w 2174836"/>
              <a:gd name="connsiteY1" fmla="*/ 376725 h 2385067"/>
              <a:gd name="connsiteX2" fmla="*/ 391782 w 2174836"/>
              <a:gd name="connsiteY2" fmla="*/ 1343 h 2385067"/>
              <a:gd name="connsiteX3" fmla="*/ 2174836 w 2174836"/>
              <a:gd name="connsiteY3" fmla="*/ 0 h 2385067"/>
              <a:gd name="connsiteX4" fmla="*/ 2173131 w 2174836"/>
              <a:gd name="connsiteY4" fmla="*/ 2384687 h 2385067"/>
              <a:gd name="connsiteX5" fmla="*/ 3601 w 2174836"/>
              <a:gd name="connsiteY5" fmla="*/ 2383688 h 2385067"/>
              <a:gd name="connsiteX6" fmla="*/ 796 w 2174836"/>
              <a:gd name="connsiteY6" fmla="*/ 2313279 h 2385067"/>
              <a:gd name="connsiteX7" fmla="*/ 270497 w 2174836"/>
              <a:gd name="connsiteY7" fmla="*/ 1312321 h 2385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74836" h="2385067">
                <a:moveTo>
                  <a:pt x="270497" y="1312321"/>
                </a:moveTo>
                <a:cubicBezTo>
                  <a:pt x="290665" y="989562"/>
                  <a:pt x="99480" y="648470"/>
                  <a:pt x="121804" y="376725"/>
                </a:cubicBezTo>
                <a:cubicBezTo>
                  <a:pt x="152779" y="146030"/>
                  <a:pt x="296311" y="132733"/>
                  <a:pt x="391782" y="1343"/>
                </a:cubicBezTo>
                <a:cubicBezTo>
                  <a:pt x="394895" y="-196"/>
                  <a:pt x="2174038" y="3689"/>
                  <a:pt x="2174836" y="0"/>
                </a:cubicBezTo>
                <a:cubicBezTo>
                  <a:pt x="2173807" y="5513"/>
                  <a:pt x="2172992" y="2384201"/>
                  <a:pt x="2173131" y="2384687"/>
                </a:cubicBezTo>
                <a:cubicBezTo>
                  <a:pt x="2173270" y="2385173"/>
                  <a:pt x="1713" y="2385497"/>
                  <a:pt x="3601" y="2383688"/>
                </a:cubicBezTo>
                <a:cubicBezTo>
                  <a:pt x="800" y="2358208"/>
                  <a:pt x="-1173" y="2315343"/>
                  <a:pt x="796" y="2313279"/>
                </a:cubicBezTo>
                <a:cubicBezTo>
                  <a:pt x="757" y="1740809"/>
                  <a:pt x="250329" y="1635080"/>
                  <a:pt x="270497" y="1312321"/>
                </a:cubicBezTo>
                <a:close/>
              </a:path>
            </a:pathLst>
          </a:custGeom>
          <a:pattFill prst="pct5">
            <a:fgClr>
              <a:schemeClr val="tx2"/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nb-NO" noProof="0"/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B7B94074-D004-D744-9090-499DC6B89C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3865" y="1656784"/>
            <a:ext cx="5312136" cy="447995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 noProof="0"/>
              <a:t>Klikk for å redigere tekst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42BE2B33-6841-9FBD-638E-40B49B68A3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3865" y="721256"/>
            <a:ext cx="5312136" cy="875160"/>
          </a:xfrm>
        </p:spPr>
        <p:txBody>
          <a:bodyPr/>
          <a:lstStyle/>
          <a:p>
            <a:r>
              <a:rPr lang="nb-NO" noProof="0"/>
              <a:t>Klikk for å redigere tittelsti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F5BA06B-0E69-E927-C269-4FD6DD02DAA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nb-NO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F3D33BF-B81A-B1C1-4D19-906920539AED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1A45C82-4439-8848-AE67-A80D69C31A1D}" type="slidenum">
              <a:rPr lang="nb-NO" noProof="0" smtClean="0"/>
              <a:pPr/>
              <a:t>‹#›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223867403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innhold og bilde alternativ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2">
            <a:extLst>
              <a:ext uri="{FF2B5EF4-FFF2-40B4-BE49-F238E27FC236}">
                <a16:creationId xmlns:a16="http://schemas.microsoft.com/office/drawing/2014/main" id="{E045BE12-D8CE-E841-B3F1-8051534C47C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-1121664" y="-199835"/>
            <a:ext cx="7453745" cy="6571262"/>
          </a:xfrm>
          <a:custGeom>
            <a:avLst/>
            <a:gdLst>
              <a:gd name="connsiteX0" fmla="*/ 0 w 3810000"/>
              <a:gd name="connsiteY0" fmla="*/ 1905000 h 3810000"/>
              <a:gd name="connsiteX1" fmla="*/ 1905000 w 3810000"/>
              <a:gd name="connsiteY1" fmla="*/ 0 h 3810000"/>
              <a:gd name="connsiteX2" fmla="*/ 3810000 w 3810000"/>
              <a:gd name="connsiteY2" fmla="*/ 1905000 h 3810000"/>
              <a:gd name="connsiteX3" fmla="*/ 1905000 w 3810000"/>
              <a:gd name="connsiteY3" fmla="*/ 3810000 h 3810000"/>
              <a:gd name="connsiteX4" fmla="*/ 0 w 3810000"/>
              <a:gd name="connsiteY4" fmla="*/ 1905000 h 3810000"/>
              <a:gd name="connsiteX0" fmla="*/ 0 w 3811950"/>
              <a:gd name="connsiteY0" fmla="*/ 2123752 h 4028752"/>
              <a:gd name="connsiteX1" fmla="*/ 1905000 w 3811950"/>
              <a:gd name="connsiteY1" fmla="*/ 218752 h 4028752"/>
              <a:gd name="connsiteX2" fmla="*/ 2258461 w 3811950"/>
              <a:gd name="connsiteY2" fmla="*/ 254316 h 4028752"/>
              <a:gd name="connsiteX3" fmla="*/ 3810000 w 3811950"/>
              <a:gd name="connsiteY3" fmla="*/ 2123752 h 4028752"/>
              <a:gd name="connsiteX4" fmla="*/ 1905000 w 3811950"/>
              <a:gd name="connsiteY4" fmla="*/ 4028752 h 4028752"/>
              <a:gd name="connsiteX5" fmla="*/ 0 w 3811950"/>
              <a:gd name="connsiteY5" fmla="*/ 2123752 h 4028752"/>
              <a:gd name="connsiteX0" fmla="*/ 0 w 3828291"/>
              <a:gd name="connsiteY0" fmla="*/ 2123752 h 4028752"/>
              <a:gd name="connsiteX1" fmla="*/ 1905000 w 3828291"/>
              <a:gd name="connsiteY1" fmla="*/ 218752 h 4028752"/>
              <a:gd name="connsiteX2" fmla="*/ 2258461 w 3828291"/>
              <a:gd name="connsiteY2" fmla="*/ 254316 h 4028752"/>
              <a:gd name="connsiteX3" fmla="*/ 2834195 w 3828291"/>
              <a:gd name="connsiteY3" fmla="*/ 762316 h 4028752"/>
              <a:gd name="connsiteX4" fmla="*/ 3810000 w 3828291"/>
              <a:gd name="connsiteY4" fmla="*/ 2123752 h 4028752"/>
              <a:gd name="connsiteX5" fmla="*/ 1905000 w 3828291"/>
              <a:gd name="connsiteY5" fmla="*/ 4028752 h 4028752"/>
              <a:gd name="connsiteX6" fmla="*/ 0 w 3828291"/>
              <a:gd name="connsiteY6" fmla="*/ 2123752 h 4028752"/>
              <a:gd name="connsiteX0" fmla="*/ 0 w 3873653"/>
              <a:gd name="connsiteY0" fmla="*/ 2123752 h 4028752"/>
              <a:gd name="connsiteX1" fmla="*/ 1905000 w 3873653"/>
              <a:gd name="connsiteY1" fmla="*/ 218752 h 4028752"/>
              <a:gd name="connsiteX2" fmla="*/ 2258461 w 3873653"/>
              <a:gd name="connsiteY2" fmla="*/ 254316 h 4028752"/>
              <a:gd name="connsiteX3" fmla="*/ 2834195 w 3873653"/>
              <a:gd name="connsiteY3" fmla="*/ 762316 h 4028752"/>
              <a:gd name="connsiteX4" fmla="*/ 3367595 w 3873653"/>
              <a:gd name="connsiteY4" fmla="*/ 1278783 h 4028752"/>
              <a:gd name="connsiteX5" fmla="*/ 3810000 w 3873653"/>
              <a:gd name="connsiteY5" fmla="*/ 2123752 h 4028752"/>
              <a:gd name="connsiteX6" fmla="*/ 1905000 w 3873653"/>
              <a:gd name="connsiteY6" fmla="*/ 4028752 h 4028752"/>
              <a:gd name="connsiteX7" fmla="*/ 0 w 3873653"/>
              <a:gd name="connsiteY7" fmla="*/ 2123752 h 4028752"/>
              <a:gd name="connsiteX0" fmla="*/ 0 w 3964912"/>
              <a:gd name="connsiteY0" fmla="*/ 2123752 h 4028752"/>
              <a:gd name="connsiteX1" fmla="*/ 1905000 w 3964912"/>
              <a:gd name="connsiteY1" fmla="*/ 218752 h 4028752"/>
              <a:gd name="connsiteX2" fmla="*/ 2258461 w 3964912"/>
              <a:gd name="connsiteY2" fmla="*/ 254316 h 4028752"/>
              <a:gd name="connsiteX3" fmla="*/ 2834195 w 3964912"/>
              <a:gd name="connsiteY3" fmla="*/ 762316 h 4028752"/>
              <a:gd name="connsiteX4" fmla="*/ 3367595 w 3964912"/>
              <a:gd name="connsiteY4" fmla="*/ 1278783 h 4028752"/>
              <a:gd name="connsiteX5" fmla="*/ 3799395 w 3964912"/>
              <a:gd name="connsiteY5" fmla="*/ 1710583 h 4028752"/>
              <a:gd name="connsiteX6" fmla="*/ 3810000 w 3964912"/>
              <a:gd name="connsiteY6" fmla="*/ 2123752 h 4028752"/>
              <a:gd name="connsiteX7" fmla="*/ 1905000 w 3964912"/>
              <a:gd name="connsiteY7" fmla="*/ 4028752 h 4028752"/>
              <a:gd name="connsiteX8" fmla="*/ 0 w 3964912"/>
              <a:gd name="connsiteY8" fmla="*/ 2123752 h 4028752"/>
              <a:gd name="connsiteX0" fmla="*/ 0 w 3848306"/>
              <a:gd name="connsiteY0" fmla="*/ 2123752 h 4031555"/>
              <a:gd name="connsiteX1" fmla="*/ 1905000 w 3848306"/>
              <a:gd name="connsiteY1" fmla="*/ 218752 h 4031555"/>
              <a:gd name="connsiteX2" fmla="*/ 2258461 w 3848306"/>
              <a:gd name="connsiteY2" fmla="*/ 254316 h 4031555"/>
              <a:gd name="connsiteX3" fmla="*/ 2834195 w 3848306"/>
              <a:gd name="connsiteY3" fmla="*/ 762316 h 4031555"/>
              <a:gd name="connsiteX4" fmla="*/ 3367595 w 3848306"/>
              <a:gd name="connsiteY4" fmla="*/ 1278783 h 4031555"/>
              <a:gd name="connsiteX5" fmla="*/ 3799395 w 3848306"/>
              <a:gd name="connsiteY5" fmla="*/ 1710583 h 4031555"/>
              <a:gd name="connsiteX6" fmla="*/ 3810000 w 3848306"/>
              <a:gd name="connsiteY6" fmla="*/ 2123752 h 4031555"/>
              <a:gd name="connsiteX7" fmla="*/ 3545394 w 3848306"/>
              <a:gd name="connsiteY7" fmla="*/ 2540316 h 4031555"/>
              <a:gd name="connsiteX8" fmla="*/ 1905000 w 3848306"/>
              <a:gd name="connsiteY8" fmla="*/ 4028752 h 4031555"/>
              <a:gd name="connsiteX9" fmla="*/ 0 w 3848306"/>
              <a:gd name="connsiteY9" fmla="*/ 2123752 h 4031555"/>
              <a:gd name="connsiteX0" fmla="*/ 0 w 3848306"/>
              <a:gd name="connsiteY0" fmla="*/ 2123752 h 4055315"/>
              <a:gd name="connsiteX1" fmla="*/ 1905000 w 3848306"/>
              <a:gd name="connsiteY1" fmla="*/ 218752 h 4055315"/>
              <a:gd name="connsiteX2" fmla="*/ 2258461 w 3848306"/>
              <a:gd name="connsiteY2" fmla="*/ 254316 h 4055315"/>
              <a:gd name="connsiteX3" fmla="*/ 2834195 w 3848306"/>
              <a:gd name="connsiteY3" fmla="*/ 762316 h 4055315"/>
              <a:gd name="connsiteX4" fmla="*/ 3367595 w 3848306"/>
              <a:gd name="connsiteY4" fmla="*/ 1278783 h 4055315"/>
              <a:gd name="connsiteX5" fmla="*/ 3799395 w 3848306"/>
              <a:gd name="connsiteY5" fmla="*/ 1710583 h 4055315"/>
              <a:gd name="connsiteX6" fmla="*/ 3810000 w 3848306"/>
              <a:gd name="connsiteY6" fmla="*/ 2123752 h 4055315"/>
              <a:gd name="connsiteX7" fmla="*/ 3545394 w 3848306"/>
              <a:gd name="connsiteY7" fmla="*/ 2540316 h 4055315"/>
              <a:gd name="connsiteX8" fmla="*/ 3020460 w 3848306"/>
              <a:gd name="connsiteY8" fmla="*/ 3192250 h 4055315"/>
              <a:gd name="connsiteX9" fmla="*/ 1905000 w 3848306"/>
              <a:gd name="connsiteY9" fmla="*/ 4028752 h 4055315"/>
              <a:gd name="connsiteX10" fmla="*/ 0 w 3848306"/>
              <a:gd name="connsiteY10" fmla="*/ 2123752 h 4055315"/>
              <a:gd name="connsiteX0" fmla="*/ 13375 w 3861681"/>
              <a:gd name="connsiteY0" fmla="*/ 2123752 h 4055315"/>
              <a:gd name="connsiteX1" fmla="*/ 1111902 w 3861681"/>
              <a:gd name="connsiteY1" fmla="*/ 406716 h 4055315"/>
              <a:gd name="connsiteX2" fmla="*/ 1918375 w 3861681"/>
              <a:gd name="connsiteY2" fmla="*/ 218752 h 4055315"/>
              <a:gd name="connsiteX3" fmla="*/ 2271836 w 3861681"/>
              <a:gd name="connsiteY3" fmla="*/ 254316 h 4055315"/>
              <a:gd name="connsiteX4" fmla="*/ 2847570 w 3861681"/>
              <a:gd name="connsiteY4" fmla="*/ 762316 h 4055315"/>
              <a:gd name="connsiteX5" fmla="*/ 3380970 w 3861681"/>
              <a:gd name="connsiteY5" fmla="*/ 1278783 h 4055315"/>
              <a:gd name="connsiteX6" fmla="*/ 3812770 w 3861681"/>
              <a:gd name="connsiteY6" fmla="*/ 1710583 h 4055315"/>
              <a:gd name="connsiteX7" fmla="*/ 3823375 w 3861681"/>
              <a:gd name="connsiteY7" fmla="*/ 2123752 h 4055315"/>
              <a:gd name="connsiteX8" fmla="*/ 3558769 w 3861681"/>
              <a:gd name="connsiteY8" fmla="*/ 2540316 h 4055315"/>
              <a:gd name="connsiteX9" fmla="*/ 3033835 w 3861681"/>
              <a:gd name="connsiteY9" fmla="*/ 3192250 h 4055315"/>
              <a:gd name="connsiteX10" fmla="*/ 1918375 w 3861681"/>
              <a:gd name="connsiteY10" fmla="*/ 4028752 h 4055315"/>
              <a:gd name="connsiteX11" fmla="*/ 13375 w 3861681"/>
              <a:gd name="connsiteY11" fmla="*/ 2123752 h 4055315"/>
              <a:gd name="connsiteX0" fmla="*/ 80778 w 3929084"/>
              <a:gd name="connsiteY0" fmla="*/ 2123752 h 4055315"/>
              <a:gd name="connsiteX1" fmla="*/ 434239 w 3929084"/>
              <a:gd name="connsiteY1" fmla="*/ 1185650 h 4055315"/>
              <a:gd name="connsiteX2" fmla="*/ 1179305 w 3929084"/>
              <a:gd name="connsiteY2" fmla="*/ 406716 h 4055315"/>
              <a:gd name="connsiteX3" fmla="*/ 1985778 w 3929084"/>
              <a:gd name="connsiteY3" fmla="*/ 218752 h 4055315"/>
              <a:gd name="connsiteX4" fmla="*/ 2339239 w 3929084"/>
              <a:gd name="connsiteY4" fmla="*/ 254316 h 4055315"/>
              <a:gd name="connsiteX5" fmla="*/ 2914973 w 3929084"/>
              <a:gd name="connsiteY5" fmla="*/ 762316 h 4055315"/>
              <a:gd name="connsiteX6" fmla="*/ 3448373 w 3929084"/>
              <a:gd name="connsiteY6" fmla="*/ 1278783 h 4055315"/>
              <a:gd name="connsiteX7" fmla="*/ 3880173 w 3929084"/>
              <a:gd name="connsiteY7" fmla="*/ 1710583 h 4055315"/>
              <a:gd name="connsiteX8" fmla="*/ 3890778 w 3929084"/>
              <a:gd name="connsiteY8" fmla="*/ 2123752 h 4055315"/>
              <a:gd name="connsiteX9" fmla="*/ 3626172 w 3929084"/>
              <a:gd name="connsiteY9" fmla="*/ 2540316 h 4055315"/>
              <a:gd name="connsiteX10" fmla="*/ 3101238 w 3929084"/>
              <a:gd name="connsiteY10" fmla="*/ 3192250 h 4055315"/>
              <a:gd name="connsiteX11" fmla="*/ 1985778 w 3929084"/>
              <a:gd name="connsiteY11" fmla="*/ 4028752 h 4055315"/>
              <a:gd name="connsiteX12" fmla="*/ 80778 w 3929084"/>
              <a:gd name="connsiteY12" fmla="*/ 2123752 h 4055315"/>
              <a:gd name="connsiteX0" fmla="*/ 94957 w 3943263"/>
              <a:gd name="connsiteY0" fmla="*/ 2123752 h 4055315"/>
              <a:gd name="connsiteX1" fmla="*/ 380685 w 3943263"/>
              <a:gd name="connsiteY1" fmla="*/ 838516 h 4055315"/>
              <a:gd name="connsiteX2" fmla="*/ 1193484 w 3943263"/>
              <a:gd name="connsiteY2" fmla="*/ 406716 h 4055315"/>
              <a:gd name="connsiteX3" fmla="*/ 1999957 w 3943263"/>
              <a:gd name="connsiteY3" fmla="*/ 218752 h 4055315"/>
              <a:gd name="connsiteX4" fmla="*/ 2353418 w 3943263"/>
              <a:gd name="connsiteY4" fmla="*/ 254316 h 4055315"/>
              <a:gd name="connsiteX5" fmla="*/ 2929152 w 3943263"/>
              <a:gd name="connsiteY5" fmla="*/ 762316 h 4055315"/>
              <a:gd name="connsiteX6" fmla="*/ 3462552 w 3943263"/>
              <a:gd name="connsiteY6" fmla="*/ 1278783 h 4055315"/>
              <a:gd name="connsiteX7" fmla="*/ 3894352 w 3943263"/>
              <a:gd name="connsiteY7" fmla="*/ 1710583 h 4055315"/>
              <a:gd name="connsiteX8" fmla="*/ 3904957 w 3943263"/>
              <a:gd name="connsiteY8" fmla="*/ 2123752 h 4055315"/>
              <a:gd name="connsiteX9" fmla="*/ 3640351 w 3943263"/>
              <a:gd name="connsiteY9" fmla="*/ 2540316 h 4055315"/>
              <a:gd name="connsiteX10" fmla="*/ 3115417 w 3943263"/>
              <a:gd name="connsiteY10" fmla="*/ 3192250 h 4055315"/>
              <a:gd name="connsiteX11" fmla="*/ 1999957 w 3943263"/>
              <a:gd name="connsiteY11" fmla="*/ 4028752 h 4055315"/>
              <a:gd name="connsiteX12" fmla="*/ 94957 w 3943263"/>
              <a:gd name="connsiteY12" fmla="*/ 2123752 h 4055315"/>
              <a:gd name="connsiteX0" fmla="*/ 94957 w 3943263"/>
              <a:gd name="connsiteY0" fmla="*/ 2017314 h 3948877"/>
              <a:gd name="connsiteX1" fmla="*/ 380685 w 3943263"/>
              <a:gd name="connsiteY1" fmla="*/ 732078 h 3948877"/>
              <a:gd name="connsiteX2" fmla="*/ 524617 w 3943263"/>
              <a:gd name="connsiteY2" fmla="*/ 63212 h 3948877"/>
              <a:gd name="connsiteX3" fmla="*/ 1999957 w 3943263"/>
              <a:gd name="connsiteY3" fmla="*/ 112314 h 3948877"/>
              <a:gd name="connsiteX4" fmla="*/ 2353418 w 3943263"/>
              <a:gd name="connsiteY4" fmla="*/ 147878 h 3948877"/>
              <a:gd name="connsiteX5" fmla="*/ 2929152 w 3943263"/>
              <a:gd name="connsiteY5" fmla="*/ 655878 h 3948877"/>
              <a:gd name="connsiteX6" fmla="*/ 3462552 w 3943263"/>
              <a:gd name="connsiteY6" fmla="*/ 1172345 h 3948877"/>
              <a:gd name="connsiteX7" fmla="*/ 3894352 w 3943263"/>
              <a:gd name="connsiteY7" fmla="*/ 1604145 h 3948877"/>
              <a:gd name="connsiteX8" fmla="*/ 3904957 w 3943263"/>
              <a:gd name="connsiteY8" fmla="*/ 2017314 h 3948877"/>
              <a:gd name="connsiteX9" fmla="*/ 3640351 w 3943263"/>
              <a:gd name="connsiteY9" fmla="*/ 2433878 h 3948877"/>
              <a:gd name="connsiteX10" fmla="*/ 3115417 w 3943263"/>
              <a:gd name="connsiteY10" fmla="*/ 3085812 h 3948877"/>
              <a:gd name="connsiteX11" fmla="*/ 1999957 w 3943263"/>
              <a:gd name="connsiteY11" fmla="*/ 3922314 h 3948877"/>
              <a:gd name="connsiteX12" fmla="*/ 94957 w 3943263"/>
              <a:gd name="connsiteY12" fmla="*/ 2017314 h 3948877"/>
              <a:gd name="connsiteX0" fmla="*/ 94957 w 3943263"/>
              <a:gd name="connsiteY0" fmla="*/ 2726502 h 4658065"/>
              <a:gd name="connsiteX1" fmla="*/ 380685 w 3943263"/>
              <a:gd name="connsiteY1" fmla="*/ 1441266 h 4658065"/>
              <a:gd name="connsiteX2" fmla="*/ 524617 w 3943263"/>
              <a:gd name="connsiteY2" fmla="*/ 772400 h 4658065"/>
              <a:gd name="connsiteX3" fmla="*/ 425157 w 3943263"/>
              <a:gd name="connsiteY3" fmla="*/ 235 h 4658065"/>
              <a:gd name="connsiteX4" fmla="*/ 2353418 w 3943263"/>
              <a:gd name="connsiteY4" fmla="*/ 857066 h 4658065"/>
              <a:gd name="connsiteX5" fmla="*/ 2929152 w 3943263"/>
              <a:gd name="connsiteY5" fmla="*/ 1365066 h 4658065"/>
              <a:gd name="connsiteX6" fmla="*/ 3462552 w 3943263"/>
              <a:gd name="connsiteY6" fmla="*/ 1881533 h 4658065"/>
              <a:gd name="connsiteX7" fmla="*/ 3894352 w 3943263"/>
              <a:gd name="connsiteY7" fmla="*/ 2313333 h 4658065"/>
              <a:gd name="connsiteX8" fmla="*/ 3904957 w 3943263"/>
              <a:gd name="connsiteY8" fmla="*/ 2726502 h 4658065"/>
              <a:gd name="connsiteX9" fmla="*/ 3640351 w 3943263"/>
              <a:gd name="connsiteY9" fmla="*/ 3143066 h 4658065"/>
              <a:gd name="connsiteX10" fmla="*/ 3115417 w 3943263"/>
              <a:gd name="connsiteY10" fmla="*/ 3795000 h 4658065"/>
              <a:gd name="connsiteX11" fmla="*/ 1999957 w 3943263"/>
              <a:gd name="connsiteY11" fmla="*/ 4631502 h 4658065"/>
              <a:gd name="connsiteX12" fmla="*/ 94957 w 3943263"/>
              <a:gd name="connsiteY12" fmla="*/ 2726502 h 4658065"/>
              <a:gd name="connsiteX0" fmla="*/ 94957 w 3943263"/>
              <a:gd name="connsiteY0" fmla="*/ 2786701 h 4718264"/>
              <a:gd name="connsiteX1" fmla="*/ 380685 w 3943263"/>
              <a:gd name="connsiteY1" fmla="*/ 1501465 h 4718264"/>
              <a:gd name="connsiteX2" fmla="*/ 524617 w 3943263"/>
              <a:gd name="connsiteY2" fmla="*/ 832599 h 4718264"/>
              <a:gd name="connsiteX3" fmla="*/ 425157 w 3943263"/>
              <a:gd name="connsiteY3" fmla="*/ 60434 h 4718264"/>
              <a:gd name="connsiteX4" fmla="*/ 2107885 w 3943263"/>
              <a:gd name="connsiteY4" fmla="*/ 265332 h 4718264"/>
              <a:gd name="connsiteX5" fmla="*/ 2929152 w 3943263"/>
              <a:gd name="connsiteY5" fmla="*/ 1425265 h 4718264"/>
              <a:gd name="connsiteX6" fmla="*/ 3462552 w 3943263"/>
              <a:gd name="connsiteY6" fmla="*/ 1941732 h 4718264"/>
              <a:gd name="connsiteX7" fmla="*/ 3894352 w 3943263"/>
              <a:gd name="connsiteY7" fmla="*/ 2373532 h 4718264"/>
              <a:gd name="connsiteX8" fmla="*/ 3904957 w 3943263"/>
              <a:gd name="connsiteY8" fmla="*/ 2786701 h 4718264"/>
              <a:gd name="connsiteX9" fmla="*/ 3640351 w 3943263"/>
              <a:gd name="connsiteY9" fmla="*/ 3203265 h 4718264"/>
              <a:gd name="connsiteX10" fmla="*/ 3115417 w 3943263"/>
              <a:gd name="connsiteY10" fmla="*/ 3855199 h 4718264"/>
              <a:gd name="connsiteX11" fmla="*/ 1999957 w 3943263"/>
              <a:gd name="connsiteY11" fmla="*/ 4691701 h 4718264"/>
              <a:gd name="connsiteX12" fmla="*/ 94957 w 3943263"/>
              <a:gd name="connsiteY12" fmla="*/ 2786701 h 4718264"/>
              <a:gd name="connsiteX0" fmla="*/ 94957 w 3943263"/>
              <a:gd name="connsiteY0" fmla="*/ 2786701 h 4718264"/>
              <a:gd name="connsiteX1" fmla="*/ 380685 w 3943263"/>
              <a:gd name="connsiteY1" fmla="*/ 1501465 h 4718264"/>
              <a:gd name="connsiteX2" fmla="*/ 524617 w 3943263"/>
              <a:gd name="connsiteY2" fmla="*/ 832599 h 4718264"/>
              <a:gd name="connsiteX3" fmla="*/ 425157 w 3943263"/>
              <a:gd name="connsiteY3" fmla="*/ 60434 h 4718264"/>
              <a:gd name="connsiteX4" fmla="*/ 2107885 w 3943263"/>
              <a:gd name="connsiteY4" fmla="*/ 265332 h 4718264"/>
              <a:gd name="connsiteX5" fmla="*/ 2971485 w 3943263"/>
              <a:gd name="connsiteY5" fmla="*/ 603998 h 4718264"/>
              <a:gd name="connsiteX6" fmla="*/ 3462552 w 3943263"/>
              <a:gd name="connsiteY6" fmla="*/ 1941732 h 4718264"/>
              <a:gd name="connsiteX7" fmla="*/ 3894352 w 3943263"/>
              <a:gd name="connsiteY7" fmla="*/ 2373532 h 4718264"/>
              <a:gd name="connsiteX8" fmla="*/ 3904957 w 3943263"/>
              <a:gd name="connsiteY8" fmla="*/ 2786701 h 4718264"/>
              <a:gd name="connsiteX9" fmla="*/ 3640351 w 3943263"/>
              <a:gd name="connsiteY9" fmla="*/ 3203265 h 4718264"/>
              <a:gd name="connsiteX10" fmla="*/ 3115417 w 3943263"/>
              <a:gd name="connsiteY10" fmla="*/ 3855199 h 4718264"/>
              <a:gd name="connsiteX11" fmla="*/ 1999957 w 3943263"/>
              <a:gd name="connsiteY11" fmla="*/ 4691701 h 4718264"/>
              <a:gd name="connsiteX12" fmla="*/ 94957 w 3943263"/>
              <a:gd name="connsiteY12" fmla="*/ 2786701 h 4718264"/>
              <a:gd name="connsiteX0" fmla="*/ 94957 w 3943263"/>
              <a:gd name="connsiteY0" fmla="*/ 2786701 h 4718264"/>
              <a:gd name="connsiteX1" fmla="*/ 380685 w 3943263"/>
              <a:gd name="connsiteY1" fmla="*/ 1501465 h 4718264"/>
              <a:gd name="connsiteX2" fmla="*/ 524617 w 3943263"/>
              <a:gd name="connsiteY2" fmla="*/ 832599 h 4718264"/>
              <a:gd name="connsiteX3" fmla="*/ 425157 w 3943263"/>
              <a:gd name="connsiteY3" fmla="*/ 60434 h 4718264"/>
              <a:gd name="connsiteX4" fmla="*/ 2107885 w 3943263"/>
              <a:gd name="connsiteY4" fmla="*/ 265332 h 4718264"/>
              <a:gd name="connsiteX5" fmla="*/ 2971485 w 3943263"/>
              <a:gd name="connsiteY5" fmla="*/ 603998 h 4718264"/>
              <a:gd name="connsiteX6" fmla="*/ 3352485 w 3943263"/>
              <a:gd name="connsiteY6" fmla="*/ 1323666 h 4718264"/>
              <a:gd name="connsiteX7" fmla="*/ 3894352 w 3943263"/>
              <a:gd name="connsiteY7" fmla="*/ 2373532 h 4718264"/>
              <a:gd name="connsiteX8" fmla="*/ 3904957 w 3943263"/>
              <a:gd name="connsiteY8" fmla="*/ 2786701 h 4718264"/>
              <a:gd name="connsiteX9" fmla="*/ 3640351 w 3943263"/>
              <a:gd name="connsiteY9" fmla="*/ 3203265 h 4718264"/>
              <a:gd name="connsiteX10" fmla="*/ 3115417 w 3943263"/>
              <a:gd name="connsiteY10" fmla="*/ 3855199 h 4718264"/>
              <a:gd name="connsiteX11" fmla="*/ 1999957 w 3943263"/>
              <a:gd name="connsiteY11" fmla="*/ 4691701 h 4718264"/>
              <a:gd name="connsiteX12" fmla="*/ 94957 w 3943263"/>
              <a:gd name="connsiteY12" fmla="*/ 2786701 h 4718264"/>
              <a:gd name="connsiteX0" fmla="*/ 94957 w 4309284"/>
              <a:gd name="connsiteY0" fmla="*/ 2786701 h 4718264"/>
              <a:gd name="connsiteX1" fmla="*/ 380685 w 4309284"/>
              <a:gd name="connsiteY1" fmla="*/ 1501465 h 4718264"/>
              <a:gd name="connsiteX2" fmla="*/ 524617 w 4309284"/>
              <a:gd name="connsiteY2" fmla="*/ 832599 h 4718264"/>
              <a:gd name="connsiteX3" fmla="*/ 425157 w 4309284"/>
              <a:gd name="connsiteY3" fmla="*/ 60434 h 4718264"/>
              <a:gd name="connsiteX4" fmla="*/ 2107885 w 4309284"/>
              <a:gd name="connsiteY4" fmla="*/ 265332 h 4718264"/>
              <a:gd name="connsiteX5" fmla="*/ 2971485 w 4309284"/>
              <a:gd name="connsiteY5" fmla="*/ 603998 h 4718264"/>
              <a:gd name="connsiteX6" fmla="*/ 3352485 w 4309284"/>
              <a:gd name="connsiteY6" fmla="*/ 1323666 h 4718264"/>
              <a:gd name="connsiteX7" fmla="*/ 4300752 w 4309284"/>
              <a:gd name="connsiteY7" fmla="*/ 1586132 h 4718264"/>
              <a:gd name="connsiteX8" fmla="*/ 3904957 w 4309284"/>
              <a:gd name="connsiteY8" fmla="*/ 2786701 h 4718264"/>
              <a:gd name="connsiteX9" fmla="*/ 3640351 w 4309284"/>
              <a:gd name="connsiteY9" fmla="*/ 3203265 h 4718264"/>
              <a:gd name="connsiteX10" fmla="*/ 3115417 w 4309284"/>
              <a:gd name="connsiteY10" fmla="*/ 3855199 h 4718264"/>
              <a:gd name="connsiteX11" fmla="*/ 1999957 w 4309284"/>
              <a:gd name="connsiteY11" fmla="*/ 4691701 h 4718264"/>
              <a:gd name="connsiteX12" fmla="*/ 94957 w 4309284"/>
              <a:gd name="connsiteY12" fmla="*/ 2786701 h 4718264"/>
              <a:gd name="connsiteX0" fmla="*/ 94957 w 4645517"/>
              <a:gd name="connsiteY0" fmla="*/ 2786701 h 4718264"/>
              <a:gd name="connsiteX1" fmla="*/ 380685 w 4645517"/>
              <a:gd name="connsiteY1" fmla="*/ 1501465 h 4718264"/>
              <a:gd name="connsiteX2" fmla="*/ 524617 w 4645517"/>
              <a:gd name="connsiteY2" fmla="*/ 832599 h 4718264"/>
              <a:gd name="connsiteX3" fmla="*/ 425157 w 4645517"/>
              <a:gd name="connsiteY3" fmla="*/ 60434 h 4718264"/>
              <a:gd name="connsiteX4" fmla="*/ 2107885 w 4645517"/>
              <a:gd name="connsiteY4" fmla="*/ 265332 h 4718264"/>
              <a:gd name="connsiteX5" fmla="*/ 2971485 w 4645517"/>
              <a:gd name="connsiteY5" fmla="*/ 603998 h 4718264"/>
              <a:gd name="connsiteX6" fmla="*/ 3352485 w 4645517"/>
              <a:gd name="connsiteY6" fmla="*/ 1323666 h 4718264"/>
              <a:gd name="connsiteX7" fmla="*/ 4300752 w 4645517"/>
              <a:gd name="connsiteY7" fmla="*/ 1586132 h 4718264"/>
              <a:gd name="connsiteX8" fmla="*/ 4641557 w 4645517"/>
              <a:gd name="connsiteY8" fmla="*/ 2219435 h 4718264"/>
              <a:gd name="connsiteX9" fmla="*/ 3640351 w 4645517"/>
              <a:gd name="connsiteY9" fmla="*/ 3203265 h 4718264"/>
              <a:gd name="connsiteX10" fmla="*/ 3115417 w 4645517"/>
              <a:gd name="connsiteY10" fmla="*/ 3855199 h 4718264"/>
              <a:gd name="connsiteX11" fmla="*/ 1999957 w 4645517"/>
              <a:gd name="connsiteY11" fmla="*/ 4691701 h 4718264"/>
              <a:gd name="connsiteX12" fmla="*/ 94957 w 4645517"/>
              <a:gd name="connsiteY12" fmla="*/ 2786701 h 4718264"/>
              <a:gd name="connsiteX0" fmla="*/ 94957 w 4645517"/>
              <a:gd name="connsiteY0" fmla="*/ 2786701 h 4718264"/>
              <a:gd name="connsiteX1" fmla="*/ 380685 w 4645517"/>
              <a:gd name="connsiteY1" fmla="*/ 1501465 h 4718264"/>
              <a:gd name="connsiteX2" fmla="*/ 524617 w 4645517"/>
              <a:gd name="connsiteY2" fmla="*/ 832599 h 4718264"/>
              <a:gd name="connsiteX3" fmla="*/ 425157 w 4645517"/>
              <a:gd name="connsiteY3" fmla="*/ 60434 h 4718264"/>
              <a:gd name="connsiteX4" fmla="*/ 2107885 w 4645517"/>
              <a:gd name="connsiteY4" fmla="*/ 265332 h 4718264"/>
              <a:gd name="connsiteX5" fmla="*/ 2971485 w 4645517"/>
              <a:gd name="connsiteY5" fmla="*/ 603998 h 4718264"/>
              <a:gd name="connsiteX6" fmla="*/ 3352485 w 4645517"/>
              <a:gd name="connsiteY6" fmla="*/ 1323666 h 4718264"/>
              <a:gd name="connsiteX7" fmla="*/ 4300752 w 4645517"/>
              <a:gd name="connsiteY7" fmla="*/ 1586132 h 4718264"/>
              <a:gd name="connsiteX8" fmla="*/ 4641557 w 4645517"/>
              <a:gd name="connsiteY8" fmla="*/ 2219435 h 4718264"/>
              <a:gd name="connsiteX9" fmla="*/ 4546284 w 4645517"/>
              <a:gd name="connsiteY9" fmla="*/ 3364132 h 4718264"/>
              <a:gd name="connsiteX10" fmla="*/ 3115417 w 4645517"/>
              <a:gd name="connsiteY10" fmla="*/ 3855199 h 4718264"/>
              <a:gd name="connsiteX11" fmla="*/ 1999957 w 4645517"/>
              <a:gd name="connsiteY11" fmla="*/ 4691701 h 4718264"/>
              <a:gd name="connsiteX12" fmla="*/ 94957 w 4645517"/>
              <a:gd name="connsiteY12" fmla="*/ 2786701 h 4718264"/>
              <a:gd name="connsiteX0" fmla="*/ 94957 w 4645517"/>
              <a:gd name="connsiteY0" fmla="*/ 2786701 h 4808016"/>
              <a:gd name="connsiteX1" fmla="*/ 380685 w 4645517"/>
              <a:gd name="connsiteY1" fmla="*/ 1501465 h 4808016"/>
              <a:gd name="connsiteX2" fmla="*/ 524617 w 4645517"/>
              <a:gd name="connsiteY2" fmla="*/ 832599 h 4808016"/>
              <a:gd name="connsiteX3" fmla="*/ 425157 w 4645517"/>
              <a:gd name="connsiteY3" fmla="*/ 60434 h 4808016"/>
              <a:gd name="connsiteX4" fmla="*/ 2107885 w 4645517"/>
              <a:gd name="connsiteY4" fmla="*/ 265332 h 4808016"/>
              <a:gd name="connsiteX5" fmla="*/ 2971485 w 4645517"/>
              <a:gd name="connsiteY5" fmla="*/ 603998 h 4808016"/>
              <a:gd name="connsiteX6" fmla="*/ 3352485 w 4645517"/>
              <a:gd name="connsiteY6" fmla="*/ 1323666 h 4808016"/>
              <a:gd name="connsiteX7" fmla="*/ 4300752 w 4645517"/>
              <a:gd name="connsiteY7" fmla="*/ 1586132 h 4808016"/>
              <a:gd name="connsiteX8" fmla="*/ 4641557 w 4645517"/>
              <a:gd name="connsiteY8" fmla="*/ 2219435 h 4808016"/>
              <a:gd name="connsiteX9" fmla="*/ 4546284 w 4645517"/>
              <a:gd name="connsiteY9" fmla="*/ 3364132 h 4808016"/>
              <a:gd name="connsiteX10" fmla="*/ 3090017 w 4645517"/>
              <a:gd name="connsiteY10" fmla="*/ 4447865 h 4808016"/>
              <a:gd name="connsiteX11" fmla="*/ 1999957 w 4645517"/>
              <a:gd name="connsiteY11" fmla="*/ 4691701 h 4808016"/>
              <a:gd name="connsiteX12" fmla="*/ 94957 w 4645517"/>
              <a:gd name="connsiteY12" fmla="*/ 2786701 h 4808016"/>
              <a:gd name="connsiteX0" fmla="*/ 79553 w 4630113"/>
              <a:gd name="connsiteY0" fmla="*/ 2786701 h 5623057"/>
              <a:gd name="connsiteX1" fmla="*/ 365281 w 4630113"/>
              <a:gd name="connsiteY1" fmla="*/ 1501465 h 5623057"/>
              <a:gd name="connsiteX2" fmla="*/ 509213 w 4630113"/>
              <a:gd name="connsiteY2" fmla="*/ 832599 h 5623057"/>
              <a:gd name="connsiteX3" fmla="*/ 409753 w 4630113"/>
              <a:gd name="connsiteY3" fmla="*/ 60434 h 5623057"/>
              <a:gd name="connsiteX4" fmla="*/ 2092481 w 4630113"/>
              <a:gd name="connsiteY4" fmla="*/ 265332 h 5623057"/>
              <a:gd name="connsiteX5" fmla="*/ 2956081 w 4630113"/>
              <a:gd name="connsiteY5" fmla="*/ 603998 h 5623057"/>
              <a:gd name="connsiteX6" fmla="*/ 3337081 w 4630113"/>
              <a:gd name="connsiteY6" fmla="*/ 1323666 h 5623057"/>
              <a:gd name="connsiteX7" fmla="*/ 4285348 w 4630113"/>
              <a:gd name="connsiteY7" fmla="*/ 1586132 h 5623057"/>
              <a:gd name="connsiteX8" fmla="*/ 4626153 w 4630113"/>
              <a:gd name="connsiteY8" fmla="*/ 2219435 h 5623057"/>
              <a:gd name="connsiteX9" fmla="*/ 4530880 w 4630113"/>
              <a:gd name="connsiteY9" fmla="*/ 3364132 h 5623057"/>
              <a:gd name="connsiteX10" fmla="*/ 3074613 w 4630113"/>
              <a:gd name="connsiteY10" fmla="*/ 4447865 h 5623057"/>
              <a:gd name="connsiteX11" fmla="*/ 1764420 w 4630113"/>
              <a:gd name="connsiteY11" fmla="*/ 5580701 h 5623057"/>
              <a:gd name="connsiteX12" fmla="*/ 79553 w 4630113"/>
              <a:gd name="connsiteY12" fmla="*/ 2786701 h 5623057"/>
              <a:gd name="connsiteX0" fmla="*/ 79553 w 4630113"/>
              <a:gd name="connsiteY0" fmla="*/ 2786701 h 5582187"/>
              <a:gd name="connsiteX1" fmla="*/ 365281 w 4630113"/>
              <a:gd name="connsiteY1" fmla="*/ 1501465 h 5582187"/>
              <a:gd name="connsiteX2" fmla="*/ 509213 w 4630113"/>
              <a:gd name="connsiteY2" fmla="*/ 832599 h 5582187"/>
              <a:gd name="connsiteX3" fmla="*/ 409753 w 4630113"/>
              <a:gd name="connsiteY3" fmla="*/ 60434 h 5582187"/>
              <a:gd name="connsiteX4" fmla="*/ 2092481 w 4630113"/>
              <a:gd name="connsiteY4" fmla="*/ 265332 h 5582187"/>
              <a:gd name="connsiteX5" fmla="*/ 2956081 w 4630113"/>
              <a:gd name="connsiteY5" fmla="*/ 603998 h 5582187"/>
              <a:gd name="connsiteX6" fmla="*/ 3337081 w 4630113"/>
              <a:gd name="connsiteY6" fmla="*/ 1323666 h 5582187"/>
              <a:gd name="connsiteX7" fmla="*/ 4285348 w 4630113"/>
              <a:gd name="connsiteY7" fmla="*/ 1586132 h 5582187"/>
              <a:gd name="connsiteX8" fmla="*/ 4626153 w 4630113"/>
              <a:gd name="connsiteY8" fmla="*/ 2219435 h 5582187"/>
              <a:gd name="connsiteX9" fmla="*/ 4530880 w 4630113"/>
              <a:gd name="connsiteY9" fmla="*/ 3364132 h 5582187"/>
              <a:gd name="connsiteX10" fmla="*/ 3074613 w 4630113"/>
              <a:gd name="connsiteY10" fmla="*/ 4447865 h 5582187"/>
              <a:gd name="connsiteX11" fmla="*/ 1764420 w 4630113"/>
              <a:gd name="connsiteY11" fmla="*/ 5580701 h 5582187"/>
              <a:gd name="connsiteX12" fmla="*/ 1000281 w 4630113"/>
              <a:gd name="connsiteY12" fmla="*/ 4642599 h 5582187"/>
              <a:gd name="connsiteX13" fmla="*/ 79553 w 4630113"/>
              <a:gd name="connsiteY13" fmla="*/ 2786701 h 5582187"/>
              <a:gd name="connsiteX0" fmla="*/ 79553 w 4630113"/>
              <a:gd name="connsiteY0" fmla="*/ 2786701 h 5581790"/>
              <a:gd name="connsiteX1" fmla="*/ 365281 w 4630113"/>
              <a:gd name="connsiteY1" fmla="*/ 1501465 h 5581790"/>
              <a:gd name="connsiteX2" fmla="*/ 509213 w 4630113"/>
              <a:gd name="connsiteY2" fmla="*/ 832599 h 5581790"/>
              <a:gd name="connsiteX3" fmla="*/ 409753 w 4630113"/>
              <a:gd name="connsiteY3" fmla="*/ 60434 h 5581790"/>
              <a:gd name="connsiteX4" fmla="*/ 2092481 w 4630113"/>
              <a:gd name="connsiteY4" fmla="*/ 265332 h 5581790"/>
              <a:gd name="connsiteX5" fmla="*/ 2956081 w 4630113"/>
              <a:gd name="connsiteY5" fmla="*/ 603998 h 5581790"/>
              <a:gd name="connsiteX6" fmla="*/ 3337081 w 4630113"/>
              <a:gd name="connsiteY6" fmla="*/ 1323666 h 5581790"/>
              <a:gd name="connsiteX7" fmla="*/ 4285348 w 4630113"/>
              <a:gd name="connsiteY7" fmla="*/ 1586132 h 5581790"/>
              <a:gd name="connsiteX8" fmla="*/ 4626153 w 4630113"/>
              <a:gd name="connsiteY8" fmla="*/ 2219435 h 5581790"/>
              <a:gd name="connsiteX9" fmla="*/ 4530880 w 4630113"/>
              <a:gd name="connsiteY9" fmla="*/ 3364132 h 5581790"/>
              <a:gd name="connsiteX10" fmla="*/ 3074613 w 4630113"/>
              <a:gd name="connsiteY10" fmla="*/ 4447865 h 5581790"/>
              <a:gd name="connsiteX11" fmla="*/ 1764420 w 4630113"/>
              <a:gd name="connsiteY11" fmla="*/ 5580701 h 5581790"/>
              <a:gd name="connsiteX12" fmla="*/ 1000281 w 4630113"/>
              <a:gd name="connsiteY12" fmla="*/ 4642599 h 5581790"/>
              <a:gd name="connsiteX13" fmla="*/ 602348 w 4630113"/>
              <a:gd name="connsiteY13" fmla="*/ 3965265 h 5581790"/>
              <a:gd name="connsiteX14" fmla="*/ 79553 w 4630113"/>
              <a:gd name="connsiteY14" fmla="*/ 2786701 h 5581790"/>
              <a:gd name="connsiteX0" fmla="*/ 79553 w 4630113"/>
              <a:gd name="connsiteY0" fmla="*/ 2786701 h 5720217"/>
              <a:gd name="connsiteX1" fmla="*/ 365281 w 4630113"/>
              <a:gd name="connsiteY1" fmla="*/ 1501465 h 5720217"/>
              <a:gd name="connsiteX2" fmla="*/ 509213 w 4630113"/>
              <a:gd name="connsiteY2" fmla="*/ 832599 h 5720217"/>
              <a:gd name="connsiteX3" fmla="*/ 409753 w 4630113"/>
              <a:gd name="connsiteY3" fmla="*/ 60434 h 5720217"/>
              <a:gd name="connsiteX4" fmla="*/ 2092481 w 4630113"/>
              <a:gd name="connsiteY4" fmla="*/ 265332 h 5720217"/>
              <a:gd name="connsiteX5" fmla="*/ 2956081 w 4630113"/>
              <a:gd name="connsiteY5" fmla="*/ 603998 h 5720217"/>
              <a:gd name="connsiteX6" fmla="*/ 3337081 w 4630113"/>
              <a:gd name="connsiteY6" fmla="*/ 1323666 h 5720217"/>
              <a:gd name="connsiteX7" fmla="*/ 4285348 w 4630113"/>
              <a:gd name="connsiteY7" fmla="*/ 1586132 h 5720217"/>
              <a:gd name="connsiteX8" fmla="*/ 4626153 w 4630113"/>
              <a:gd name="connsiteY8" fmla="*/ 2219435 h 5720217"/>
              <a:gd name="connsiteX9" fmla="*/ 4530880 w 4630113"/>
              <a:gd name="connsiteY9" fmla="*/ 3364132 h 5720217"/>
              <a:gd name="connsiteX10" fmla="*/ 3074613 w 4630113"/>
              <a:gd name="connsiteY10" fmla="*/ 4447865 h 5720217"/>
              <a:gd name="connsiteX11" fmla="*/ 1764420 w 4630113"/>
              <a:gd name="connsiteY11" fmla="*/ 5580701 h 5720217"/>
              <a:gd name="connsiteX12" fmla="*/ 695481 w 4630113"/>
              <a:gd name="connsiteY12" fmla="*/ 5523132 h 5720217"/>
              <a:gd name="connsiteX13" fmla="*/ 602348 w 4630113"/>
              <a:gd name="connsiteY13" fmla="*/ 3965265 h 5720217"/>
              <a:gd name="connsiteX14" fmla="*/ 79553 w 4630113"/>
              <a:gd name="connsiteY14" fmla="*/ 2786701 h 5720217"/>
              <a:gd name="connsiteX0" fmla="*/ 743440 w 5294000"/>
              <a:gd name="connsiteY0" fmla="*/ 2786701 h 6046671"/>
              <a:gd name="connsiteX1" fmla="*/ 1029168 w 5294000"/>
              <a:gd name="connsiteY1" fmla="*/ 1501465 h 6046671"/>
              <a:gd name="connsiteX2" fmla="*/ 1173100 w 5294000"/>
              <a:gd name="connsiteY2" fmla="*/ 832599 h 6046671"/>
              <a:gd name="connsiteX3" fmla="*/ 1073640 w 5294000"/>
              <a:gd name="connsiteY3" fmla="*/ 60434 h 6046671"/>
              <a:gd name="connsiteX4" fmla="*/ 2756368 w 5294000"/>
              <a:gd name="connsiteY4" fmla="*/ 265332 h 6046671"/>
              <a:gd name="connsiteX5" fmla="*/ 3619968 w 5294000"/>
              <a:gd name="connsiteY5" fmla="*/ 603998 h 6046671"/>
              <a:gd name="connsiteX6" fmla="*/ 4000968 w 5294000"/>
              <a:gd name="connsiteY6" fmla="*/ 1323666 h 6046671"/>
              <a:gd name="connsiteX7" fmla="*/ 4949235 w 5294000"/>
              <a:gd name="connsiteY7" fmla="*/ 1586132 h 6046671"/>
              <a:gd name="connsiteX8" fmla="*/ 5290040 w 5294000"/>
              <a:gd name="connsiteY8" fmla="*/ 2219435 h 6046671"/>
              <a:gd name="connsiteX9" fmla="*/ 5194767 w 5294000"/>
              <a:gd name="connsiteY9" fmla="*/ 3364132 h 6046671"/>
              <a:gd name="connsiteX10" fmla="*/ 3738500 w 5294000"/>
              <a:gd name="connsiteY10" fmla="*/ 4447865 h 6046671"/>
              <a:gd name="connsiteX11" fmla="*/ 2428307 w 5294000"/>
              <a:gd name="connsiteY11" fmla="*/ 5580701 h 6046671"/>
              <a:gd name="connsiteX12" fmla="*/ 1359368 w 5294000"/>
              <a:gd name="connsiteY12" fmla="*/ 5523132 h 6046671"/>
              <a:gd name="connsiteX13" fmla="*/ 21635 w 5294000"/>
              <a:gd name="connsiteY13" fmla="*/ 5988799 h 6046671"/>
              <a:gd name="connsiteX14" fmla="*/ 743440 w 5294000"/>
              <a:gd name="connsiteY14" fmla="*/ 2786701 h 6046671"/>
              <a:gd name="connsiteX0" fmla="*/ 11836 w 6941530"/>
              <a:gd name="connsiteY0" fmla="*/ 4200634 h 6046671"/>
              <a:gd name="connsiteX1" fmla="*/ 2676698 w 6941530"/>
              <a:gd name="connsiteY1" fmla="*/ 1501465 h 6046671"/>
              <a:gd name="connsiteX2" fmla="*/ 2820630 w 6941530"/>
              <a:gd name="connsiteY2" fmla="*/ 832599 h 6046671"/>
              <a:gd name="connsiteX3" fmla="*/ 2721170 w 6941530"/>
              <a:gd name="connsiteY3" fmla="*/ 60434 h 6046671"/>
              <a:gd name="connsiteX4" fmla="*/ 4403898 w 6941530"/>
              <a:gd name="connsiteY4" fmla="*/ 265332 h 6046671"/>
              <a:gd name="connsiteX5" fmla="*/ 5267498 w 6941530"/>
              <a:gd name="connsiteY5" fmla="*/ 603998 h 6046671"/>
              <a:gd name="connsiteX6" fmla="*/ 5648498 w 6941530"/>
              <a:gd name="connsiteY6" fmla="*/ 1323666 h 6046671"/>
              <a:gd name="connsiteX7" fmla="*/ 6596765 w 6941530"/>
              <a:gd name="connsiteY7" fmla="*/ 1586132 h 6046671"/>
              <a:gd name="connsiteX8" fmla="*/ 6937570 w 6941530"/>
              <a:gd name="connsiteY8" fmla="*/ 2219435 h 6046671"/>
              <a:gd name="connsiteX9" fmla="*/ 6842297 w 6941530"/>
              <a:gd name="connsiteY9" fmla="*/ 3364132 h 6046671"/>
              <a:gd name="connsiteX10" fmla="*/ 5386030 w 6941530"/>
              <a:gd name="connsiteY10" fmla="*/ 4447865 h 6046671"/>
              <a:gd name="connsiteX11" fmla="*/ 4075837 w 6941530"/>
              <a:gd name="connsiteY11" fmla="*/ 5580701 h 6046671"/>
              <a:gd name="connsiteX12" fmla="*/ 3006898 w 6941530"/>
              <a:gd name="connsiteY12" fmla="*/ 5523132 h 6046671"/>
              <a:gd name="connsiteX13" fmla="*/ 1669165 w 6941530"/>
              <a:gd name="connsiteY13" fmla="*/ 5988799 h 6046671"/>
              <a:gd name="connsiteX14" fmla="*/ 11836 w 6941530"/>
              <a:gd name="connsiteY14" fmla="*/ 4200634 h 6046671"/>
              <a:gd name="connsiteX0" fmla="*/ 15737 w 6945431"/>
              <a:gd name="connsiteY0" fmla="*/ 4200634 h 6046671"/>
              <a:gd name="connsiteX1" fmla="*/ 944932 w 6945431"/>
              <a:gd name="connsiteY1" fmla="*/ 3203265 h 6046671"/>
              <a:gd name="connsiteX2" fmla="*/ 2680599 w 6945431"/>
              <a:gd name="connsiteY2" fmla="*/ 1501465 h 6046671"/>
              <a:gd name="connsiteX3" fmla="*/ 2824531 w 6945431"/>
              <a:gd name="connsiteY3" fmla="*/ 832599 h 6046671"/>
              <a:gd name="connsiteX4" fmla="*/ 2725071 w 6945431"/>
              <a:gd name="connsiteY4" fmla="*/ 60434 h 6046671"/>
              <a:gd name="connsiteX5" fmla="*/ 4407799 w 6945431"/>
              <a:gd name="connsiteY5" fmla="*/ 265332 h 6046671"/>
              <a:gd name="connsiteX6" fmla="*/ 5271399 w 6945431"/>
              <a:gd name="connsiteY6" fmla="*/ 603998 h 6046671"/>
              <a:gd name="connsiteX7" fmla="*/ 5652399 w 6945431"/>
              <a:gd name="connsiteY7" fmla="*/ 1323666 h 6046671"/>
              <a:gd name="connsiteX8" fmla="*/ 6600666 w 6945431"/>
              <a:gd name="connsiteY8" fmla="*/ 1586132 h 6046671"/>
              <a:gd name="connsiteX9" fmla="*/ 6941471 w 6945431"/>
              <a:gd name="connsiteY9" fmla="*/ 2219435 h 6046671"/>
              <a:gd name="connsiteX10" fmla="*/ 6846198 w 6945431"/>
              <a:gd name="connsiteY10" fmla="*/ 3364132 h 6046671"/>
              <a:gd name="connsiteX11" fmla="*/ 5389931 w 6945431"/>
              <a:gd name="connsiteY11" fmla="*/ 4447865 h 6046671"/>
              <a:gd name="connsiteX12" fmla="*/ 4079738 w 6945431"/>
              <a:gd name="connsiteY12" fmla="*/ 5580701 h 6046671"/>
              <a:gd name="connsiteX13" fmla="*/ 3010799 w 6945431"/>
              <a:gd name="connsiteY13" fmla="*/ 5523132 h 6046671"/>
              <a:gd name="connsiteX14" fmla="*/ 1673066 w 6945431"/>
              <a:gd name="connsiteY14" fmla="*/ 5988799 h 6046671"/>
              <a:gd name="connsiteX15" fmla="*/ 15737 w 6945431"/>
              <a:gd name="connsiteY15" fmla="*/ 4200634 h 6046671"/>
              <a:gd name="connsiteX0" fmla="*/ 15737 w 6945431"/>
              <a:gd name="connsiteY0" fmla="*/ 4200634 h 6046671"/>
              <a:gd name="connsiteX1" fmla="*/ 944932 w 6945431"/>
              <a:gd name="connsiteY1" fmla="*/ 3203265 h 6046671"/>
              <a:gd name="connsiteX2" fmla="*/ 1808533 w 6945431"/>
              <a:gd name="connsiteY2" fmla="*/ 2390465 h 6046671"/>
              <a:gd name="connsiteX3" fmla="*/ 2680599 w 6945431"/>
              <a:gd name="connsiteY3" fmla="*/ 1501465 h 6046671"/>
              <a:gd name="connsiteX4" fmla="*/ 2824531 w 6945431"/>
              <a:gd name="connsiteY4" fmla="*/ 832599 h 6046671"/>
              <a:gd name="connsiteX5" fmla="*/ 2725071 w 6945431"/>
              <a:gd name="connsiteY5" fmla="*/ 60434 h 6046671"/>
              <a:gd name="connsiteX6" fmla="*/ 4407799 w 6945431"/>
              <a:gd name="connsiteY6" fmla="*/ 265332 h 6046671"/>
              <a:gd name="connsiteX7" fmla="*/ 5271399 w 6945431"/>
              <a:gd name="connsiteY7" fmla="*/ 603998 h 6046671"/>
              <a:gd name="connsiteX8" fmla="*/ 5652399 w 6945431"/>
              <a:gd name="connsiteY8" fmla="*/ 1323666 h 6046671"/>
              <a:gd name="connsiteX9" fmla="*/ 6600666 w 6945431"/>
              <a:gd name="connsiteY9" fmla="*/ 1586132 h 6046671"/>
              <a:gd name="connsiteX10" fmla="*/ 6941471 w 6945431"/>
              <a:gd name="connsiteY10" fmla="*/ 2219435 h 6046671"/>
              <a:gd name="connsiteX11" fmla="*/ 6846198 w 6945431"/>
              <a:gd name="connsiteY11" fmla="*/ 3364132 h 6046671"/>
              <a:gd name="connsiteX12" fmla="*/ 5389931 w 6945431"/>
              <a:gd name="connsiteY12" fmla="*/ 4447865 h 6046671"/>
              <a:gd name="connsiteX13" fmla="*/ 4079738 w 6945431"/>
              <a:gd name="connsiteY13" fmla="*/ 5580701 h 6046671"/>
              <a:gd name="connsiteX14" fmla="*/ 3010799 w 6945431"/>
              <a:gd name="connsiteY14" fmla="*/ 5523132 h 6046671"/>
              <a:gd name="connsiteX15" fmla="*/ 1673066 w 6945431"/>
              <a:gd name="connsiteY15" fmla="*/ 5988799 h 6046671"/>
              <a:gd name="connsiteX16" fmla="*/ 15737 w 6945431"/>
              <a:gd name="connsiteY16" fmla="*/ 4200634 h 6046671"/>
              <a:gd name="connsiteX0" fmla="*/ 15737 w 6945431"/>
              <a:gd name="connsiteY0" fmla="*/ 4200634 h 6046671"/>
              <a:gd name="connsiteX1" fmla="*/ 944932 w 6945431"/>
              <a:gd name="connsiteY1" fmla="*/ 3203265 h 6046671"/>
              <a:gd name="connsiteX2" fmla="*/ 1808533 w 6945431"/>
              <a:gd name="connsiteY2" fmla="*/ 2390465 h 6046671"/>
              <a:gd name="connsiteX3" fmla="*/ 2350400 w 6945431"/>
              <a:gd name="connsiteY3" fmla="*/ 1865532 h 6046671"/>
              <a:gd name="connsiteX4" fmla="*/ 2680599 w 6945431"/>
              <a:gd name="connsiteY4" fmla="*/ 1501465 h 6046671"/>
              <a:gd name="connsiteX5" fmla="*/ 2824531 w 6945431"/>
              <a:gd name="connsiteY5" fmla="*/ 832599 h 6046671"/>
              <a:gd name="connsiteX6" fmla="*/ 2725071 w 6945431"/>
              <a:gd name="connsiteY6" fmla="*/ 60434 h 6046671"/>
              <a:gd name="connsiteX7" fmla="*/ 4407799 w 6945431"/>
              <a:gd name="connsiteY7" fmla="*/ 265332 h 6046671"/>
              <a:gd name="connsiteX8" fmla="*/ 5271399 w 6945431"/>
              <a:gd name="connsiteY8" fmla="*/ 603998 h 6046671"/>
              <a:gd name="connsiteX9" fmla="*/ 5652399 w 6945431"/>
              <a:gd name="connsiteY9" fmla="*/ 1323666 h 6046671"/>
              <a:gd name="connsiteX10" fmla="*/ 6600666 w 6945431"/>
              <a:gd name="connsiteY10" fmla="*/ 1586132 h 6046671"/>
              <a:gd name="connsiteX11" fmla="*/ 6941471 w 6945431"/>
              <a:gd name="connsiteY11" fmla="*/ 2219435 h 6046671"/>
              <a:gd name="connsiteX12" fmla="*/ 6846198 w 6945431"/>
              <a:gd name="connsiteY12" fmla="*/ 3364132 h 6046671"/>
              <a:gd name="connsiteX13" fmla="*/ 5389931 w 6945431"/>
              <a:gd name="connsiteY13" fmla="*/ 4447865 h 6046671"/>
              <a:gd name="connsiteX14" fmla="*/ 4079738 w 6945431"/>
              <a:gd name="connsiteY14" fmla="*/ 5580701 h 6046671"/>
              <a:gd name="connsiteX15" fmla="*/ 3010799 w 6945431"/>
              <a:gd name="connsiteY15" fmla="*/ 5523132 h 6046671"/>
              <a:gd name="connsiteX16" fmla="*/ 1673066 w 6945431"/>
              <a:gd name="connsiteY16" fmla="*/ 5988799 h 6046671"/>
              <a:gd name="connsiteX17" fmla="*/ 15737 w 6945431"/>
              <a:gd name="connsiteY17" fmla="*/ 4200634 h 6046671"/>
              <a:gd name="connsiteX0" fmla="*/ 15737 w 6945431"/>
              <a:gd name="connsiteY0" fmla="*/ 4200634 h 6046671"/>
              <a:gd name="connsiteX1" fmla="*/ 944932 w 6945431"/>
              <a:gd name="connsiteY1" fmla="*/ 3203265 h 6046671"/>
              <a:gd name="connsiteX2" fmla="*/ 1808533 w 6945431"/>
              <a:gd name="connsiteY2" fmla="*/ 2390465 h 6046671"/>
              <a:gd name="connsiteX3" fmla="*/ 2341933 w 6945431"/>
              <a:gd name="connsiteY3" fmla="*/ 1797798 h 6046671"/>
              <a:gd name="connsiteX4" fmla="*/ 2680599 w 6945431"/>
              <a:gd name="connsiteY4" fmla="*/ 1501465 h 6046671"/>
              <a:gd name="connsiteX5" fmla="*/ 2824531 w 6945431"/>
              <a:gd name="connsiteY5" fmla="*/ 832599 h 6046671"/>
              <a:gd name="connsiteX6" fmla="*/ 2725071 w 6945431"/>
              <a:gd name="connsiteY6" fmla="*/ 60434 h 6046671"/>
              <a:gd name="connsiteX7" fmla="*/ 4407799 w 6945431"/>
              <a:gd name="connsiteY7" fmla="*/ 265332 h 6046671"/>
              <a:gd name="connsiteX8" fmla="*/ 5271399 w 6945431"/>
              <a:gd name="connsiteY8" fmla="*/ 603998 h 6046671"/>
              <a:gd name="connsiteX9" fmla="*/ 5652399 w 6945431"/>
              <a:gd name="connsiteY9" fmla="*/ 1323666 h 6046671"/>
              <a:gd name="connsiteX10" fmla="*/ 6600666 w 6945431"/>
              <a:gd name="connsiteY10" fmla="*/ 1586132 h 6046671"/>
              <a:gd name="connsiteX11" fmla="*/ 6941471 w 6945431"/>
              <a:gd name="connsiteY11" fmla="*/ 2219435 h 6046671"/>
              <a:gd name="connsiteX12" fmla="*/ 6846198 w 6945431"/>
              <a:gd name="connsiteY12" fmla="*/ 3364132 h 6046671"/>
              <a:gd name="connsiteX13" fmla="*/ 5389931 w 6945431"/>
              <a:gd name="connsiteY13" fmla="*/ 4447865 h 6046671"/>
              <a:gd name="connsiteX14" fmla="*/ 4079738 w 6945431"/>
              <a:gd name="connsiteY14" fmla="*/ 5580701 h 6046671"/>
              <a:gd name="connsiteX15" fmla="*/ 3010799 w 6945431"/>
              <a:gd name="connsiteY15" fmla="*/ 5523132 h 6046671"/>
              <a:gd name="connsiteX16" fmla="*/ 1673066 w 6945431"/>
              <a:gd name="connsiteY16" fmla="*/ 5988799 h 6046671"/>
              <a:gd name="connsiteX17" fmla="*/ 15737 w 6945431"/>
              <a:gd name="connsiteY17" fmla="*/ 4200634 h 6046671"/>
              <a:gd name="connsiteX0" fmla="*/ 15737 w 6945431"/>
              <a:gd name="connsiteY0" fmla="*/ 4200634 h 6046671"/>
              <a:gd name="connsiteX1" fmla="*/ 944932 w 6945431"/>
              <a:gd name="connsiteY1" fmla="*/ 3203265 h 6046671"/>
              <a:gd name="connsiteX2" fmla="*/ 1122733 w 6945431"/>
              <a:gd name="connsiteY2" fmla="*/ 2195731 h 6046671"/>
              <a:gd name="connsiteX3" fmla="*/ 2341933 w 6945431"/>
              <a:gd name="connsiteY3" fmla="*/ 1797798 h 6046671"/>
              <a:gd name="connsiteX4" fmla="*/ 2680599 w 6945431"/>
              <a:gd name="connsiteY4" fmla="*/ 1501465 h 6046671"/>
              <a:gd name="connsiteX5" fmla="*/ 2824531 w 6945431"/>
              <a:gd name="connsiteY5" fmla="*/ 832599 h 6046671"/>
              <a:gd name="connsiteX6" fmla="*/ 2725071 w 6945431"/>
              <a:gd name="connsiteY6" fmla="*/ 60434 h 6046671"/>
              <a:gd name="connsiteX7" fmla="*/ 4407799 w 6945431"/>
              <a:gd name="connsiteY7" fmla="*/ 265332 h 6046671"/>
              <a:gd name="connsiteX8" fmla="*/ 5271399 w 6945431"/>
              <a:gd name="connsiteY8" fmla="*/ 603998 h 6046671"/>
              <a:gd name="connsiteX9" fmla="*/ 5652399 w 6945431"/>
              <a:gd name="connsiteY9" fmla="*/ 1323666 h 6046671"/>
              <a:gd name="connsiteX10" fmla="*/ 6600666 w 6945431"/>
              <a:gd name="connsiteY10" fmla="*/ 1586132 h 6046671"/>
              <a:gd name="connsiteX11" fmla="*/ 6941471 w 6945431"/>
              <a:gd name="connsiteY11" fmla="*/ 2219435 h 6046671"/>
              <a:gd name="connsiteX12" fmla="*/ 6846198 w 6945431"/>
              <a:gd name="connsiteY12" fmla="*/ 3364132 h 6046671"/>
              <a:gd name="connsiteX13" fmla="*/ 5389931 w 6945431"/>
              <a:gd name="connsiteY13" fmla="*/ 4447865 h 6046671"/>
              <a:gd name="connsiteX14" fmla="*/ 4079738 w 6945431"/>
              <a:gd name="connsiteY14" fmla="*/ 5580701 h 6046671"/>
              <a:gd name="connsiteX15" fmla="*/ 3010799 w 6945431"/>
              <a:gd name="connsiteY15" fmla="*/ 5523132 h 6046671"/>
              <a:gd name="connsiteX16" fmla="*/ 1673066 w 6945431"/>
              <a:gd name="connsiteY16" fmla="*/ 5988799 h 6046671"/>
              <a:gd name="connsiteX17" fmla="*/ 15737 w 6945431"/>
              <a:gd name="connsiteY17" fmla="*/ 4200634 h 6046671"/>
              <a:gd name="connsiteX0" fmla="*/ 58266 w 6987960"/>
              <a:gd name="connsiteY0" fmla="*/ 4200634 h 6046671"/>
              <a:gd name="connsiteX1" fmla="*/ 597995 w 6987960"/>
              <a:gd name="connsiteY1" fmla="*/ 2602131 h 6046671"/>
              <a:gd name="connsiteX2" fmla="*/ 1165262 w 6987960"/>
              <a:gd name="connsiteY2" fmla="*/ 2195731 h 6046671"/>
              <a:gd name="connsiteX3" fmla="*/ 2384462 w 6987960"/>
              <a:gd name="connsiteY3" fmla="*/ 1797798 h 6046671"/>
              <a:gd name="connsiteX4" fmla="*/ 2723128 w 6987960"/>
              <a:gd name="connsiteY4" fmla="*/ 1501465 h 6046671"/>
              <a:gd name="connsiteX5" fmla="*/ 2867060 w 6987960"/>
              <a:gd name="connsiteY5" fmla="*/ 832599 h 6046671"/>
              <a:gd name="connsiteX6" fmla="*/ 2767600 w 6987960"/>
              <a:gd name="connsiteY6" fmla="*/ 60434 h 6046671"/>
              <a:gd name="connsiteX7" fmla="*/ 4450328 w 6987960"/>
              <a:gd name="connsiteY7" fmla="*/ 265332 h 6046671"/>
              <a:gd name="connsiteX8" fmla="*/ 5313928 w 6987960"/>
              <a:gd name="connsiteY8" fmla="*/ 603998 h 6046671"/>
              <a:gd name="connsiteX9" fmla="*/ 5694928 w 6987960"/>
              <a:gd name="connsiteY9" fmla="*/ 1323666 h 6046671"/>
              <a:gd name="connsiteX10" fmla="*/ 6643195 w 6987960"/>
              <a:gd name="connsiteY10" fmla="*/ 1586132 h 6046671"/>
              <a:gd name="connsiteX11" fmla="*/ 6984000 w 6987960"/>
              <a:gd name="connsiteY11" fmla="*/ 2219435 h 6046671"/>
              <a:gd name="connsiteX12" fmla="*/ 6888727 w 6987960"/>
              <a:gd name="connsiteY12" fmla="*/ 3364132 h 6046671"/>
              <a:gd name="connsiteX13" fmla="*/ 5432460 w 6987960"/>
              <a:gd name="connsiteY13" fmla="*/ 4447865 h 6046671"/>
              <a:gd name="connsiteX14" fmla="*/ 4122267 w 6987960"/>
              <a:gd name="connsiteY14" fmla="*/ 5580701 h 6046671"/>
              <a:gd name="connsiteX15" fmla="*/ 3053328 w 6987960"/>
              <a:gd name="connsiteY15" fmla="*/ 5523132 h 6046671"/>
              <a:gd name="connsiteX16" fmla="*/ 1715595 w 6987960"/>
              <a:gd name="connsiteY16" fmla="*/ 5988799 h 6046671"/>
              <a:gd name="connsiteX17" fmla="*/ 58266 w 6987960"/>
              <a:gd name="connsiteY17" fmla="*/ 4200634 h 6046671"/>
              <a:gd name="connsiteX0" fmla="*/ 58266 w 6987960"/>
              <a:gd name="connsiteY0" fmla="*/ 4200634 h 6046671"/>
              <a:gd name="connsiteX1" fmla="*/ 597995 w 6987960"/>
              <a:gd name="connsiteY1" fmla="*/ 2602131 h 6046671"/>
              <a:gd name="connsiteX2" fmla="*/ 1114462 w 6987960"/>
              <a:gd name="connsiteY2" fmla="*/ 2153397 h 6046671"/>
              <a:gd name="connsiteX3" fmla="*/ 2384462 w 6987960"/>
              <a:gd name="connsiteY3" fmla="*/ 1797798 h 6046671"/>
              <a:gd name="connsiteX4" fmla="*/ 2723128 w 6987960"/>
              <a:gd name="connsiteY4" fmla="*/ 1501465 h 6046671"/>
              <a:gd name="connsiteX5" fmla="*/ 2867060 w 6987960"/>
              <a:gd name="connsiteY5" fmla="*/ 832599 h 6046671"/>
              <a:gd name="connsiteX6" fmla="*/ 2767600 w 6987960"/>
              <a:gd name="connsiteY6" fmla="*/ 60434 h 6046671"/>
              <a:gd name="connsiteX7" fmla="*/ 4450328 w 6987960"/>
              <a:gd name="connsiteY7" fmla="*/ 265332 h 6046671"/>
              <a:gd name="connsiteX8" fmla="*/ 5313928 w 6987960"/>
              <a:gd name="connsiteY8" fmla="*/ 603998 h 6046671"/>
              <a:gd name="connsiteX9" fmla="*/ 5694928 w 6987960"/>
              <a:gd name="connsiteY9" fmla="*/ 1323666 h 6046671"/>
              <a:gd name="connsiteX10" fmla="*/ 6643195 w 6987960"/>
              <a:gd name="connsiteY10" fmla="*/ 1586132 h 6046671"/>
              <a:gd name="connsiteX11" fmla="*/ 6984000 w 6987960"/>
              <a:gd name="connsiteY11" fmla="*/ 2219435 h 6046671"/>
              <a:gd name="connsiteX12" fmla="*/ 6888727 w 6987960"/>
              <a:gd name="connsiteY12" fmla="*/ 3364132 h 6046671"/>
              <a:gd name="connsiteX13" fmla="*/ 5432460 w 6987960"/>
              <a:gd name="connsiteY13" fmla="*/ 4447865 h 6046671"/>
              <a:gd name="connsiteX14" fmla="*/ 4122267 w 6987960"/>
              <a:gd name="connsiteY14" fmla="*/ 5580701 h 6046671"/>
              <a:gd name="connsiteX15" fmla="*/ 3053328 w 6987960"/>
              <a:gd name="connsiteY15" fmla="*/ 5523132 h 6046671"/>
              <a:gd name="connsiteX16" fmla="*/ 1715595 w 6987960"/>
              <a:gd name="connsiteY16" fmla="*/ 5988799 h 6046671"/>
              <a:gd name="connsiteX17" fmla="*/ 58266 w 6987960"/>
              <a:gd name="connsiteY17" fmla="*/ 4200634 h 6046671"/>
              <a:gd name="connsiteX0" fmla="*/ 58266 w 6987960"/>
              <a:gd name="connsiteY0" fmla="*/ 4200634 h 6001722"/>
              <a:gd name="connsiteX1" fmla="*/ 597995 w 6987960"/>
              <a:gd name="connsiteY1" fmla="*/ 2602131 h 6001722"/>
              <a:gd name="connsiteX2" fmla="*/ 1114462 w 6987960"/>
              <a:gd name="connsiteY2" fmla="*/ 2153397 h 6001722"/>
              <a:gd name="connsiteX3" fmla="*/ 2384462 w 6987960"/>
              <a:gd name="connsiteY3" fmla="*/ 1797798 h 6001722"/>
              <a:gd name="connsiteX4" fmla="*/ 2723128 w 6987960"/>
              <a:gd name="connsiteY4" fmla="*/ 1501465 h 6001722"/>
              <a:gd name="connsiteX5" fmla="*/ 2867060 w 6987960"/>
              <a:gd name="connsiteY5" fmla="*/ 832599 h 6001722"/>
              <a:gd name="connsiteX6" fmla="*/ 2767600 w 6987960"/>
              <a:gd name="connsiteY6" fmla="*/ 60434 h 6001722"/>
              <a:gd name="connsiteX7" fmla="*/ 4450328 w 6987960"/>
              <a:gd name="connsiteY7" fmla="*/ 265332 h 6001722"/>
              <a:gd name="connsiteX8" fmla="*/ 5313928 w 6987960"/>
              <a:gd name="connsiteY8" fmla="*/ 603998 h 6001722"/>
              <a:gd name="connsiteX9" fmla="*/ 5694928 w 6987960"/>
              <a:gd name="connsiteY9" fmla="*/ 1323666 h 6001722"/>
              <a:gd name="connsiteX10" fmla="*/ 6643195 w 6987960"/>
              <a:gd name="connsiteY10" fmla="*/ 1586132 h 6001722"/>
              <a:gd name="connsiteX11" fmla="*/ 6984000 w 6987960"/>
              <a:gd name="connsiteY11" fmla="*/ 2219435 h 6001722"/>
              <a:gd name="connsiteX12" fmla="*/ 6888727 w 6987960"/>
              <a:gd name="connsiteY12" fmla="*/ 3364132 h 6001722"/>
              <a:gd name="connsiteX13" fmla="*/ 5432460 w 6987960"/>
              <a:gd name="connsiteY13" fmla="*/ 4447865 h 6001722"/>
              <a:gd name="connsiteX14" fmla="*/ 4122267 w 6987960"/>
              <a:gd name="connsiteY14" fmla="*/ 5580701 h 6001722"/>
              <a:gd name="connsiteX15" fmla="*/ 3053328 w 6987960"/>
              <a:gd name="connsiteY15" fmla="*/ 5523132 h 6001722"/>
              <a:gd name="connsiteX16" fmla="*/ 1715595 w 6987960"/>
              <a:gd name="connsiteY16" fmla="*/ 5988799 h 6001722"/>
              <a:gd name="connsiteX17" fmla="*/ 433280 w 6987960"/>
              <a:gd name="connsiteY17" fmla="*/ 4759048 h 6001722"/>
              <a:gd name="connsiteX18" fmla="*/ 58266 w 6987960"/>
              <a:gd name="connsiteY18" fmla="*/ 4200634 h 6001722"/>
              <a:gd name="connsiteX0" fmla="*/ 49186 w 6978880"/>
              <a:gd name="connsiteY0" fmla="*/ 4200634 h 6001722"/>
              <a:gd name="connsiteX1" fmla="*/ 588915 w 6978880"/>
              <a:gd name="connsiteY1" fmla="*/ 2602131 h 6001722"/>
              <a:gd name="connsiteX2" fmla="*/ 1105382 w 6978880"/>
              <a:gd name="connsiteY2" fmla="*/ 2153397 h 6001722"/>
              <a:gd name="connsiteX3" fmla="*/ 2375382 w 6978880"/>
              <a:gd name="connsiteY3" fmla="*/ 1797798 h 6001722"/>
              <a:gd name="connsiteX4" fmla="*/ 2714048 w 6978880"/>
              <a:gd name="connsiteY4" fmla="*/ 1501465 h 6001722"/>
              <a:gd name="connsiteX5" fmla="*/ 2857980 w 6978880"/>
              <a:gd name="connsiteY5" fmla="*/ 832599 h 6001722"/>
              <a:gd name="connsiteX6" fmla="*/ 2758520 w 6978880"/>
              <a:gd name="connsiteY6" fmla="*/ 60434 h 6001722"/>
              <a:gd name="connsiteX7" fmla="*/ 4441248 w 6978880"/>
              <a:gd name="connsiteY7" fmla="*/ 265332 h 6001722"/>
              <a:gd name="connsiteX8" fmla="*/ 5304848 w 6978880"/>
              <a:gd name="connsiteY8" fmla="*/ 603998 h 6001722"/>
              <a:gd name="connsiteX9" fmla="*/ 5685848 w 6978880"/>
              <a:gd name="connsiteY9" fmla="*/ 1323666 h 6001722"/>
              <a:gd name="connsiteX10" fmla="*/ 6634115 w 6978880"/>
              <a:gd name="connsiteY10" fmla="*/ 1586132 h 6001722"/>
              <a:gd name="connsiteX11" fmla="*/ 6974920 w 6978880"/>
              <a:gd name="connsiteY11" fmla="*/ 2219435 h 6001722"/>
              <a:gd name="connsiteX12" fmla="*/ 6879647 w 6978880"/>
              <a:gd name="connsiteY12" fmla="*/ 3364132 h 6001722"/>
              <a:gd name="connsiteX13" fmla="*/ 5423380 w 6978880"/>
              <a:gd name="connsiteY13" fmla="*/ 4447865 h 6001722"/>
              <a:gd name="connsiteX14" fmla="*/ 4113187 w 6978880"/>
              <a:gd name="connsiteY14" fmla="*/ 5580701 h 6001722"/>
              <a:gd name="connsiteX15" fmla="*/ 3044248 w 6978880"/>
              <a:gd name="connsiteY15" fmla="*/ 5523132 h 6001722"/>
              <a:gd name="connsiteX16" fmla="*/ 1706515 w 6978880"/>
              <a:gd name="connsiteY16" fmla="*/ 5988799 h 6001722"/>
              <a:gd name="connsiteX17" fmla="*/ 212534 w 6978880"/>
              <a:gd name="connsiteY17" fmla="*/ 5741182 h 6001722"/>
              <a:gd name="connsiteX18" fmla="*/ 49186 w 6978880"/>
              <a:gd name="connsiteY18" fmla="*/ 4200634 h 6001722"/>
              <a:gd name="connsiteX0" fmla="*/ 49186 w 6978880"/>
              <a:gd name="connsiteY0" fmla="*/ 4200634 h 6013491"/>
              <a:gd name="connsiteX1" fmla="*/ 588915 w 6978880"/>
              <a:gd name="connsiteY1" fmla="*/ 2602131 h 6013491"/>
              <a:gd name="connsiteX2" fmla="*/ 1105382 w 6978880"/>
              <a:gd name="connsiteY2" fmla="*/ 2153397 h 6013491"/>
              <a:gd name="connsiteX3" fmla="*/ 2375382 w 6978880"/>
              <a:gd name="connsiteY3" fmla="*/ 1797798 h 6013491"/>
              <a:gd name="connsiteX4" fmla="*/ 2714048 w 6978880"/>
              <a:gd name="connsiteY4" fmla="*/ 1501465 h 6013491"/>
              <a:gd name="connsiteX5" fmla="*/ 2857980 w 6978880"/>
              <a:gd name="connsiteY5" fmla="*/ 832599 h 6013491"/>
              <a:gd name="connsiteX6" fmla="*/ 2758520 w 6978880"/>
              <a:gd name="connsiteY6" fmla="*/ 60434 h 6013491"/>
              <a:gd name="connsiteX7" fmla="*/ 4441248 w 6978880"/>
              <a:gd name="connsiteY7" fmla="*/ 265332 h 6013491"/>
              <a:gd name="connsiteX8" fmla="*/ 5304848 w 6978880"/>
              <a:gd name="connsiteY8" fmla="*/ 603998 h 6013491"/>
              <a:gd name="connsiteX9" fmla="*/ 5685848 w 6978880"/>
              <a:gd name="connsiteY9" fmla="*/ 1323666 h 6013491"/>
              <a:gd name="connsiteX10" fmla="*/ 6634115 w 6978880"/>
              <a:gd name="connsiteY10" fmla="*/ 1586132 h 6013491"/>
              <a:gd name="connsiteX11" fmla="*/ 6974920 w 6978880"/>
              <a:gd name="connsiteY11" fmla="*/ 2219435 h 6013491"/>
              <a:gd name="connsiteX12" fmla="*/ 6879647 w 6978880"/>
              <a:gd name="connsiteY12" fmla="*/ 3364132 h 6013491"/>
              <a:gd name="connsiteX13" fmla="*/ 5423380 w 6978880"/>
              <a:gd name="connsiteY13" fmla="*/ 4447865 h 6013491"/>
              <a:gd name="connsiteX14" fmla="*/ 4113187 w 6978880"/>
              <a:gd name="connsiteY14" fmla="*/ 5580701 h 6013491"/>
              <a:gd name="connsiteX15" fmla="*/ 3044248 w 6978880"/>
              <a:gd name="connsiteY15" fmla="*/ 5523132 h 6013491"/>
              <a:gd name="connsiteX16" fmla="*/ 1706515 w 6978880"/>
              <a:gd name="connsiteY16" fmla="*/ 5988799 h 6013491"/>
              <a:gd name="connsiteX17" fmla="*/ 1016867 w 6978880"/>
              <a:gd name="connsiteY17" fmla="*/ 5927448 h 6013491"/>
              <a:gd name="connsiteX18" fmla="*/ 212534 w 6978880"/>
              <a:gd name="connsiteY18" fmla="*/ 5741182 h 6013491"/>
              <a:gd name="connsiteX19" fmla="*/ 49186 w 6978880"/>
              <a:gd name="connsiteY19" fmla="*/ 4200634 h 6013491"/>
              <a:gd name="connsiteX0" fmla="*/ 49186 w 6978880"/>
              <a:gd name="connsiteY0" fmla="*/ 4200634 h 6100282"/>
              <a:gd name="connsiteX1" fmla="*/ 588915 w 6978880"/>
              <a:gd name="connsiteY1" fmla="*/ 2602131 h 6100282"/>
              <a:gd name="connsiteX2" fmla="*/ 1105382 w 6978880"/>
              <a:gd name="connsiteY2" fmla="*/ 2153397 h 6100282"/>
              <a:gd name="connsiteX3" fmla="*/ 2375382 w 6978880"/>
              <a:gd name="connsiteY3" fmla="*/ 1797798 h 6100282"/>
              <a:gd name="connsiteX4" fmla="*/ 2714048 w 6978880"/>
              <a:gd name="connsiteY4" fmla="*/ 1501465 h 6100282"/>
              <a:gd name="connsiteX5" fmla="*/ 2857980 w 6978880"/>
              <a:gd name="connsiteY5" fmla="*/ 832599 h 6100282"/>
              <a:gd name="connsiteX6" fmla="*/ 2758520 w 6978880"/>
              <a:gd name="connsiteY6" fmla="*/ 60434 h 6100282"/>
              <a:gd name="connsiteX7" fmla="*/ 4441248 w 6978880"/>
              <a:gd name="connsiteY7" fmla="*/ 265332 h 6100282"/>
              <a:gd name="connsiteX8" fmla="*/ 5304848 w 6978880"/>
              <a:gd name="connsiteY8" fmla="*/ 603998 h 6100282"/>
              <a:gd name="connsiteX9" fmla="*/ 5685848 w 6978880"/>
              <a:gd name="connsiteY9" fmla="*/ 1323666 h 6100282"/>
              <a:gd name="connsiteX10" fmla="*/ 6634115 w 6978880"/>
              <a:gd name="connsiteY10" fmla="*/ 1586132 h 6100282"/>
              <a:gd name="connsiteX11" fmla="*/ 6974920 w 6978880"/>
              <a:gd name="connsiteY11" fmla="*/ 2219435 h 6100282"/>
              <a:gd name="connsiteX12" fmla="*/ 6879647 w 6978880"/>
              <a:gd name="connsiteY12" fmla="*/ 3364132 h 6100282"/>
              <a:gd name="connsiteX13" fmla="*/ 5423380 w 6978880"/>
              <a:gd name="connsiteY13" fmla="*/ 4447865 h 6100282"/>
              <a:gd name="connsiteX14" fmla="*/ 4113187 w 6978880"/>
              <a:gd name="connsiteY14" fmla="*/ 5580701 h 6100282"/>
              <a:gd name="connsiteX15" fmla="*/ 3044248 w 6978880"/>
              <a:gd name="connsiteY15" fmla="*/ 5523132 h 6100282"/>
              <a:gd name="connsiteX16" fmla="*/ 1706515 w 6978880"/>
              <a:gd name="connsiteY16" fmla="*/ 5988799 h 6100282"/>
              <a:gd name="connsiteX17" fmla="*/ 1008401 w 6978880"/>
              <a:gd name="connsiteY17" fmla="*/ 6088315 h 6100282"/>
              <a:gd name="connsiteX18" fmla="*/ 212534 w 6978880"/>
              <a:gd name="connsiteY18" fmla="*/ 5741182 h 6100282"/>
              <a:gd name="connsiteX19" fmla="*/ 49186 w 6978880"/>
              <a:gd name="connsiteY19" fmla="*/ 4200634 h 6100282"/>
              <a:gd name="connsiteX0" fmla="*/ 49186 w 6978880"/>
              <a:gd name="connsiteY0" fmla="*/ 4200634 h 6114389"/>
              <a:gd name="connsiteX1" fmla="*/ 588915 w 6978880"/>
              <a:gd name="connsiteY1" fmla="*/ 2602131 h 6114389"/>
              <a:gd name="connsiteX2" fmla="*/ 1105382 w 6978880"/>
              <a:gd name="connsiteY2" fmla="*/ 2153397 h 6114389"/>
              <a:gd name="connsiteX3" fmla="*/ 2375382 w 6978880"/>
              <a:gd name="connsiteY3" fmla="*/ 1797798 h 6114389"/>
              <a:gd name="connsiteX4" fmla="*/ 2714048 w 6978880"/>
              <a:gd name="connsiteY4" fmla="*/ 1501465 h 6114389"/>
              <a:gd name="connsiteX5" fmla="*/ 2857980 w 6978880"/>
              <a:gd name="connsiteY5" fmla="*/ 832599 h 6114389"/>
              <a:gd name="connsiteX6" fmla="*/ 2758520 w 6978880"/>
              <a:gd name="connsiteY6" fmla="*/ 60434 h 6114389"/>
              <a:gd name="connsiteX7" fmla="*/ 4441248 w 6978880"/>
              <a:gd name="connsiteY7" fmla="*/ 265332 h 6114389"/>
              <a:gd name="connsiteX8" fmla="*/ 5304848 w 6978880"/>
              <a:gd name="connsiteY8" fmla="*/ 603998 h 6114389"/>
              <a:gd name="connsiteX9" fmla="*/ 5685848 w 6978880"/>
              <a:gd name="connsiteY9" fmla="*/ 1323666 h 6114389"/>
              <a:gd name="connsiteX10" fmla="*/ 6634115 w 6978880"/>
              <a:gd name="connsiteY10" fmla="*/ 1586132 h 6114389"/>
              <a:gd name="connsiteX11" fmla="*/ 6974920 w 6978880"/>
              <a:gd name="connsiteY11" fmla="*/ 2219435 h 6114389"/>
              <a:gd name="connsiteX12" fmla="*/ 6879647 w 6978880"/>
              <a:gd name="connsiteY12" fmla="*/ 3364132 h 6114389"/>
              <a:gd name="connsiteX13" fmla="*/ 5423380 w 6978880"/>
              <a:gd name="connsiteY13" fmla="*/ 4447865 h 6114389"/>
              <a:gd name="connsiteX14" fmla="*/ 4113187 w 6978880"/>
              <a:gd name="connsiteY14" fmla="*/ 5580701 h 6114389"/>
              <a:gd name="connsiteX15" fmla="*/ 3044248 w 6978880"/>
              <a:gd name="connsiteY15" fmla="*/ 5523132 h 6114389"/>
              <a:gd name="connsiteX16" fmla="*/ 1757315 w 6978880"/>
              <a:gd name="connsiteY16" fmla="*/ 6056532 h 6114389"/>
              <a:gd name="connsiteX17" fmla="*/ 1008401 w 6978880"/>
              <a:gd name="connsiteY17" fmla="*/ 6088315 h 6114389"/>
              <a:gd name="connsiteX18" fmla="*/ 212534 w 6978880"/>
              <a:gd name="connsiteY18" fmla="*/ 5741182 h 6114389"/>
              <a:gd name="connsiteX19" fmla="*/ 49186 w 6978880"/>
              <a:gd name="connsiteY19" fmla="*/ 4200634 h 6114389"/>
              <a:gd name="connsiteX0" fmla="*/ 49186 w 6978880"/>
              <a:gd name="connsiteY0" fmla="*/ 4200634 h 6119000"/>
              <a:gd name="connsiteX1" fmla="*/ 588915 w 6978880"/>
              <a:gd name="connsiteY1" fmla="*/ 2602131 h 6119000"/>
              <a:gd name="connsiteX2" fmla="*/ 1105382 w 6978880"/>
              <a:gd name="connsiteY2" fmla="*/ 2153397 h 6119000"/>
              <a:gd name="connsiteX3" fmla="*/ 2375382 w 6978880"/>
              <a:gd name="connsiteY3" fmla="*/ 1797798 h 6119000"/>
              <a:gd name="connsiteX4" fmla="*/ 2714048 w 6978880"/>
              <a:gd name="connsiteY4" fmla="*/ 1501465 h 6119000"/>
              <a:gd name="connsiteX5" fmla="*/ 2857980 w 6978880"/>
              <a:gd name="connsiteY5" fmla="*/ 832599 h 6119000"/>
              <a:gd name="connsiteX6" fmla="*/ 2758520 w 6978880"/>
              <a:gd name="connsiteY6" fmla="*/ 60434 h 6119000"/>
              <a:gd name="connsiteX7" fmla="*/ 4441248 w 6978880"/>
              <a:gd name="connsiteY7" fmla="*/ 265332 h 6119000"/>
              <a:gd name="connsiteX8" fmla="*/ 5304848 w 6978880"/>
              <a:gd name="connsiteY8" fmla="*/ 603998 h 6119000"/>
              <a:gd name="connsiteX9" fmla="*/ 5685848 w 6978880"/>
              <a:gd name="connsiteY9" fmla="*/ 1323666 h 6119000"/>
              <a:gd name="connsiteX10" fmla="*/ 6634115 w 6978880"/>
              <a:gd name="connsiteY10" fmla="*/ 1586132 h 6119000"/>
              <a:gd name="connsiteX11" fmla="*/ 6974920 w 6978880"/>
              <a:gd name="connsiteY11" fmla="*/ 2219435 h 6119000"/>
              <a:gd name="connsiteX12" fmla="*/ 6879647 w 6978880"/>
              <a:gd name="connsiteY12" fmla="*/ 3364132 h 6119000"/>
              <a:gd name="connsiteX13" fmla="*/ 5423380 w 6978880"/>
              <a:gd name="connsiteY13" fmla="*/ 4447865 h 6119000"/>
              <a:gd name="connsiteX14" fmla="*/ 4113187 w 6978880"/>
              <a:gd name="connsiteY14" fmla="*/ 5580701 h 6119000"/>
              <a:gd name="connsiteX15" fmla="*/ 3044248 w 6978880"/>
              <a:gd name="connsiteY15" fmla="*/ 5523132 h 6119000"/>
              <a:gd name="connsiteX16" fmla="*/ 2557800 w 6978880"/>
              <a:gd name="connsiteY16" fmla="*/ 5597247 h 6119000"/>
              <a:gd name="connsiteX17" fmla="*/ 1757315 w 6978880"/>
              <a:gd name="connsiteY17" fmla="*/ 6056532 h 6119000"/>
              <a:gd name="connsiteX18" fmla="*/ 1008401 w 6978880"/>
              <a:gd name="connsiteY18" fmla="*/ 6088315 h 6119000"/>
              <a:gd name="connsiteX19" fmla="*/ 212534 w 6978880"/>
              <a:gd name="connsiteY19" fmla="*/ 5741182 h 6119000"/>
              <a:gd name="connsiteX20" fmla="*/ 49186 w 6978880"/>
              <a:gd name="connsiteY20" fmla="*/ 4200634 h 6119000"/>
              <a:gd name="connsiteX0" fmla="*/ 49186 w 6978880"/>
              <a:gd name="connsiteY0" fmla="*/ 4200634 h 6119000"/>
              <a:gd name="connsiteX1" fmla="*/ 588915 w 6978880"/>
              <a:gd name="connsiteY1" fmla="*/ 2602131 h 6119000"/>
              <a:gd name="connsiteX2" fmla="*/ 1105382 w 6978880"/>
              <a:gd name="connsiteY2" fmla="*/ 2153397 h 6119000"/>
              <a:gd name="connsiteX3" fmla="*/ 2375382 w 6978880"/>
              <a:gd name="connsiteY3" fmla="*/ 1797798 h 6119000"/>
              <a:gd name="connsiteX4" fmla="*/ 2714048 w 6978880"/>
              <a:gd name="connsiteY4" fmla="*/ 1501465 h 6119000"/>
              <a:gd name="connsiteX5" fmla="*/ 2857980 w 6978880"/>
              <a:gd name="connsiteY5" fmla="*/ 832599 h 6119000"/>
              <a:gd name="connsiteX6" fmla="*/ 2758520 w 6978880"/>
              <a:gd name="connsiteY6" fmla="*/ 60434 h 6119000"/>
              <a:gd name="connsiteX7" fmla="*/ 4441248 w 6978880"/>
              <a:gd name="connsiteY7" fmla="*/ 265332 h 6119000"/>
              <a:gd name="connsiteX8" fmla="*/ 5304848 w 6978880"/>
              <a:gd name="connsiteY8" fmla="*/ 603998 h 6119000"/>
              <a:gd name="connsiteX9" fmla="*/ 5685848 w 6978880"/>
              <a:gd name="connsiteY9" fmla="*/ 1323666 h 6119000"/>
              <a:gd name="connsiteX10" fmla="*/ 6634115 w 6978880"/>
              <a:gd name="connsiteY10" fmla="*/ 1586132 h 6119000"/>
              <a:gd name="connsiteX11" fmla="*/ 6974920 w 6978880"/>
              <a:gd name="connsiteY11" fmla="*/ 2219435 h 6119000"/>
              <a:gd name="connsiteX12" fmla="*/ 6879647 w 6978880"/>
              <a:gd name="connsiteY12" fmla="*/ 3364132 h 6119000"/>
              <a:gd name="connsiteX13" fmla="*/ 5423380 w 6978880"/>
              <a:gd name="connsiteY13" fmla="*/ 4447865 h 6119000"/>
              <a:gd name="connsiteX14" fmla="*/ 4113187 w 6978880"/>
              <a:gd name="connsiteY14" fmla="*/ 5580701 h 6119000"/>
              <a:gd name="connsiteX15" fmla="*/ 3044248 w 6978880"/>
              <a:gd name="connsiteY15" fmla="*/ 5523132 h 6119000"/>
              <a:gd name="connsiteX16" fmla="*/ 2617067 w 6978880"/>
              <a:gd name="connsiteY16" fmla="*/ 5775047 h 6119000"/>
              <a:gd name="connsiteX17" fmla="*/ 1757315 w 6978880"/>
              <a:gd name="connsiteY17" fmla="*/ 6056532 h 6119000"/>
              <a:gd name="connsiteX18" fmla="*/ 1008401 w 6978880"/>
              <a:gd name="connsiteY18" fmla="*/ 6088315 h 6119000"/>
              <a:gd name="connsiteX19" fmla="*/ 212534 w 6978880"/>
              <a:gd name="connsiteY19" fmla="*/ 5741182 h 6119000"/>
              <a:gd name="connsiteX20" fmla="*/ 49186 w 6978880"/>
              <a:gd name="connsiteY20" fmla="*/ 4200634 h 6119000"/>
              <a:gd name="connsiteX0" fmla="*/ 49186 w 6978880"/>
              <a:gd name="connsiteY0" fmla="*/ 4200634 h 6119000"/>
              <a:gd name="connsiteX1" fmla="*/ 588915 w 6978880"/>
              <a:gd name="connsiteY1" fmla="*/ 2602131 h 6119000"/>
              <a:gd name="connsiteX2" fmla="*/ 1105382 w 6978880"/>
              <a:gd name="connsiteY2" fmla="*/ 2153397 h 6119000"/>
              <a:gd name="connsiteX3" fmla="*/ 2375382 w 6978880"/>
              <a:gd name="connsiteY3" fmla="*/ 1797798 h 6119000"/>
              <a:gd name="connsiteX4" fmla="*/ 2714048 w 6978880"/>
              <a:gd name="connsiteY4" fmla="*/ 1501465 h 6119000"/>
              <a:gd name="connsiteX5" fmla="*/ 2857980 w 6978880"/>
              <a:gd name="connsiteY5" fmla="*/ 832599 h 6119000"/>
              <a:gd name="connsiteX6" fmla="*/ 2758520 w 6978880"/>
              <a:gd name="connsiteY6" fmla="*/ 60434 h 6119000"/>
              <a:gd name="connsiteX7" fmla="*/ 4441248 w 6978880"/>
              <a:gd name="connsiteY7" fmla="*/ 265332 h 6119000"/>
              <a:gd name="connsiteX8" fmla="*/ 5304848 w 6978880"/>
              <a:gd name="connsiteY8" fmla="*/ 603998 h 6119000"/>
              <a:gd name="connsiteX9" fmla="*/ 5685848 w 6978880"/>
              <a:gd name="connsiteY9" fmla="*/ 1323666 h 6119000"/>
              <a:gd name="connsiteX10" fmla="*/ 6634115 w 6978880"/>
              <a:gd name="connsiteY10" fmla="*/ 1586132 h 6119000"/>
              <a:gd name="connsiteX11" fmla="*/ 6974920 w 6978880"/>
              <a:gd name="connsiteY11" fmla="*/ 2219435 h 6119000"/>
              <a:gd name="connsiteX12" fmla="*/ 6879647 w 6978880"/>
              <a:gd name="connsiteY12" fmla="*/ 3364132 h 6119000"/>
              <a:gd name="connsiteX13" fmla="*/ 5423380 w 6978880"/>
              <a:gd name="connsiteY13" fmla="*/ 4447865 h 6119000"/>
              <a:gd name="connsiteX14" fmla="*/ 4809933 w 6978880"/>
              <a:gd name="connsiteY14" fmla="*/ 5038446 h 6119000"/>
              <a:gd name="connsiteX15" fmla="*/ 4113187 w 6978880"/>
              <a:gd name="connsiteY15" fmla="*/ 5580701 h 6119000"/>
              <a:gd name="connsiteX16" fmla="*/ 3044248 w 6978880"/>
              <a:gd name="connsiteY16" fmla="*/ 5523132 h 6119000"/>
              <a:gd name="connsiteX17" fmla="*/ 2617067 w 6978880"/>
              <a:gd name="connsiteY17" fmla="*/ 5775047 h 6119000"/>
              <a:gd name="connsiteX18" fmla="*/ 1757315 w 6978880"/>
              <a:gd name="connsiteY18" fmla="*/ 6056532 h 6119000"/>
              <a:gd name="connsiteX19" fmla="*/ 1008401 w 6978880"/>
              <a:gd name="connsiteY19" fmla="*/ 6088315 h 6119000"/>
              <a:gd name="connsiteX20" fmla="*/ 212534 w 6978880"/>
              <a:gd name="connsiteY20" fmla="*/ 5741182 h 6119000"/>
              <a:gd name="connsiteX21" fmla="*/ 49186 w 6978880"/>
              <a:gd name="connsiteY21" fmla="*/ 4200634 h 6119000"/>
              <a:gd name="connsiteX0" fmla="*/ 49186 w 6978880"/>
              <a:gd name="connsiteY0" fmla="*/ 4200634 h 6119000"/>
              <a:gd name="connsiteX1" fmla="*/ 588915 w 6978880"/>
              <a:gd name="connsiteY1" fmla="*/ 2602131 h 6119000"/>
              <a:gd name="connsiteX2" fmla="*/ 1105382 w 6978880"/>
              <a:gd name="connsiteY2" fmla="*/ 2153397 h 6119000"/>
              <a:gd name="connsiteX3" fmla="*/ 2375382 w 6978880"/>
              <a:gd name="connsiteY3" fmla="*/ 1797798 h 6119000"/>
              <a:gd name="connsiteX4" fmla="*/ 2714048 w 6978880"/>
              <a:gd name="connsiteY4" fmla="*/ 1501465 h 6119000"/>
              <a:gd name="connsiteX5" fmla="*/ 2857980 w 6978880"/>
              <a:gd name="connsiteY5" fmla="*/ 832599 h 6119000"/>
              <a:gd name="connsiteX6" fmla="*/ 2758520 w 6978880"/>
              <a:gd name="connsiteY6" fmla="*/ 60434 h 6119000"/>
              <a:gd name="connsiteX7" fmla="*/ 4441248 w 6978880"/>
              <a:gd name="connsiteY7" fmla="*/ 265332 h 6119000"/>
              <a:gd name="connsiteX8" fmla="*/ 5304848 w 6978880"/>
              <a:gd name="connsiteY8" fmla="*/ 603998 h 6119000"/>
              <a:gd name="connsiteX9" fmla="*/ 5685848 w 6978880"/>
              <a:gd name="connsiteY9" fmla="*/ 1323666 h 6119000"/>
              <a:gd name="connsiteX10" fmla="*/ 6634115 w 6978880"/>
              <a:gd name="connsiteY10" fmla="*/ 1586132 h 6119000"/>
              <a:gd name="connsiteX11" fmla="*/ 6974920 w 6978880"/>
              <a:gd name="connsiteY11" fmla="*/ 2219435 h 6119000"/>
              <a:gd name="connsiteX12" fmla="*/ 6879647 w 6978880"/>
              <a:gd name="connsiteY12" fmla="*/ 3364132 h 6119000"/>
              <a:gd name="connsiteX13" fmla="*/ 5423380 w 6978880"/>
              <a:gd name="connsiteY13" fmla="*/ 4447865 h 6119000"/>
              <a:gd name="connsiteX14" fmla="*/ 4869200 w 6978880"/>
              <a:gd name="connsiteY14" fmla="*/ 5461779 h 6119000"/>
              <a:gd name="connsiteX15" fmla="*/ 4113187 w 6978880"/>
              <a:gd name="connsiteY15" fmla="*/ 5580701 h 6119000"/>
              <a:gd name="connsiteX16" fmla="*/ 3044248 w 6978880"/>
              <a:gd name="connsiteY16" fmla="*/ 5523132 h 6119000"/>
              <a:gd name="connsiteX17" fmla="*/ 2617067 w 6978880"/>
              <a:gd name="connsiteY17" fmla="*/ 5775047 h 6119000"/>
              <a:gd name="connsiteX18" fmla="*/ 1757315 w 6978880"/>
              <a:gd name="connsiteY18" fmla="*/ 6056532 h 6119000"/>
              <a:gd name="connsiteX19" fmla="*/ 1008401 w 6978880"/>
              <a:gd name="connsiteY19" fmla="*/ 6088315 h 6119000"/>
              <a:gd name="connsiteX20" fmla="*/ 212534 w 6978880"/>
              <a:gd name="connsiteY20" fmla="*/ 5741182 h 6119000"/>
              <a:gd name="connsiteX21" fmla="*/ 49186 w 6978880"/>
              <a:gd name="connsiteY21" fmla="*/ 4200634 h 6119000"/>
              <a:gd name="connsiteX0" fmla="*/ 49186 w 6978880"/>
              <a:gd name="connsiteY0" fmla="*/ 4200634 h 6119000"/>
              <a:gd name="connsiteX1" fmla="*/ 588915 w 6978880"/>
              <a:gd name="connsiteY1" fmla="*/ 2602131 h 6119000"/>
              <a:gd name="connsiteX2" fmla="*/ 1105382 w 6978880"/>
              <a:gd name="connsiteY2" fmla="*/ 2153397 h 6119000"/>
              <a:gd name="connsiteX3" fmla="*/ 2375382 w 6978880"/>
              <a:gd name="connsiteY3" fmla="*/ 1797798 h 6119000"/>
              <a:gd name="connsiteX4" fmla="*/ 2714048 w 6978880"/>
              <a:gd name="connsiteY4" fmla="*/ 1501465 h 6119000"/>
              <a:gd name="connsiteX5" fmla="*/ 2857980 w 6978880"/>
              <a:gd name="connsiteY5" fmla="*/ 832599 h 6119000"/>
              <a:gd name="connsiteX6" fmla="*/ 2758520 w 6978880"/>
              <a:gd name="connsiteY6" fmla="*/ 60434 h 6119000"/>
              <a:gd name="connsiteX7" fmla="*/ 4441248 w 6978880"/>
              <a:gd name="connsiteY7" fmla="*/ 265332 h 6119000"/>
              <a:gd name="connsiteX8" fmla="*/ 5304848 w 6978880"/>
              <a:gd name="connsiteY8" fmla="*/ 603998 h 6119000"/>
              <a:gd name="connsiteX9" fmla="*/ 5685848 w 6978880"/>
              <a:gd name="connsiteY9" fmla="*/ 1323666 h 6119000"/>
              <a:gd name="connsiteX10" fmla="*/ 6634115 w 6978880"/>
              <a:gd name="connsiteY10" fmla="*/ 1586132 h 6119000"/>
              <a:gd name="connsiteX11" fmla="*/ 6974920 w 6978880"/>
              <a:gd name="connsiteY11" fmla="*/ 2219435 h 6119000"/>
              <a:gd name="connsiteX12" fmla="*/ 6879647 w 6978880"/>
              <a:gd name="connsiteY12" fmla="*/ 3364132 h 6119000"/>
              <a:gd name="connsiteX13" fmla="*/ 6249267 w 6978880"/>
              <a:gd name="connsiteY13" fmla="*/ 3853113 h 6119000"/>
              <a:gd name="connsiteX14" fmla="*/ 5423380 w 6978880"/>
              <a:gd name="connsiteY14" fmla="*/ 4447865 h 6119000"/>
              <a:gd name="connsiteX15" fmla="*/ 4869200 w 6978880"/>
              <a:gd name="connsiteY15" fmla="*/ 5461779 h 6119000"/>
              <a:gd name="connsiteX16" fmla="*/ 4113187 w 6978880"/>
              <a:gd name="connsiteY16" fmla="*/ 5580701 h 6119000"/>
              <a:gd name="connsiteX17" fmla="*/ 3044248 w 6978880"/>
              <a:gd name="connsiteY17" fmla="*/ 5523132 h 6119000"/>
              <a:gd name="connsiteX18" fmla="*/ 2617067 w 6978880"/>
              <a:gd name="connsiteY18" fmla="*/ 5775047 h 6119000"/>
              <a:gd name="connsiteX19" fmla="*/ 1757315 w 6978880"/>
              <a:gd name="connsiteY19" fmla="*/ 6056532 h 6119000"/>
              <a:gd name="connsiteX20" fmla="*/ 1008401 w 6978880"/>
              <a:gd name="connsiteY20" fmla="*/ 6088315 h 6119000"/>
              <a:gd name="connsiteX21" fmla="*/ 212534 w 6978880"/>
              <a:gd name="connsiteY21" fmla="*/ 5741182 h 6119000"/>
              <a:gd name="connsiteX22" fmla="*/ 49186 w 6978880"/>
              <a:gd name="connsiteY22" fmla="*/ 4200634 h 6119000"/>
              <a:gd name="connsiteX0" fmla="*/ 49186 w 6978880"/>
              <a:gd name="connsiteY0" fmla="*/ 4200634 h 6119000"/>
              <a:gd name="connsiteX1" fmla="*/ 588915 w 6978880"/>
              <a:gd name="connsiteY1" fmla="*/ 2602131 h 6119000"/>
              <a:gd name="connsiteX2" fmla="*/ 1105382 w 6978880"/>
              <a:gd name="connsiteY2" fmla="*/ 2153397 h 6119000"/>
              <a:gd name="connsiteX3" fmla="*/ 2375382 w 6978880"/>
              <a:gd name="connsiteY3" fmla="*/ 1797798 h 6119000"/>
              <a:gd name="connsiteX4" fmla="*/ 2714048 w 6978880"/>
              <a:gd name="connsiteY4" fmla="*/ 1501465 h 6119000"/>
              <a:gd name="connsiteX5" fmla="*/ 2857980 w 6978880"/>
              <a:gd name="connsiteY5" fmla="*/ 832599 h 6119000"/>
              <a:gd name="connsiteX6" fmla="*/ 2758520 w 6978880"/>
              <a:gd name="connsiteY6" fmla="*/ 60434 h 6119000"/>
              <a:gd name="connsiteX7" fmla="*/ 4441248 w 6978880"/>
              <a:gd name="connsiteY7" fmla="*/ 265332 h 6119000"/>
              <a:gd name="connsiteX8" fmla="*/ 5304848 w 6978880"/>
              <a:gd name="connsiteY8" fmla="*/ 603998 h 6119000"/>
              <a:gd name="connsiteX9" fmla="*/ 5685848 w 6978880"/>
              <a:gd name="connsiteY9" fmla="*/ 1323666 h 6119000"/>
              <a:gd name="connsiteX10" fmla="*/ 6634115 w 6978880"/>
              <a:gd name="connsiteY10" fmla="*/ 1586132 h 6119000"/>
              <a:gd name="connsiteX11" fmla="*/ 6974920 w 6978880"/>
              <a:gd name="connsiteY11" fmla="*/ 2219435 h 6119000"/>
              <a:gd name="connsiteX12" fmla="*/ 6879647 w 6978880"/>
              <a:gd name="connsiteY12" fmla="*/ 3364132 h 6119000"/>
              <a:gd name="connsiteX13" fmla="*/ 6401667 w 6978880"/>
              <a:gd name="connsiteY13" fmla="*/ 3988580 h 6119000"/>
              <a:gd name="connsiteX14" fmla="*/ 5423380 w 6978880"/>
              <a:gd name="connsiteY14" fmla="*/ 4447865 h 6119000"/>
              <a:gd name="connsiteX15" fmla="*/ 4869200 w 6978880"/>
              <a:gd name="connsiteY15" fmla="*/ 5461779 h 6119000"/>
              <a:gd name="connsiteX16" fmla="*/ 4113187 w 6978880"/>
              <a:gd name="connsiteY16" fmla="*/ 5580701 h 6119000"/>
              <a:gd name="connsiteX17" fmla="*/ 3044248 w 6978880"/>
              <a:gd name="connsiteY17" fmla="*/ 5523132 h 6119000"/>
              <a:gd name="connsiteX18" fmla="*/ 2617067 w 6978880"/>
              <a:gd name="connsiteY18" fmla="*/ 5775047 h 6119000"/>
              <a:gd name="connsiteX19" fmla="*/ 1757315 w 6978880"/>
              <a:gd name="connsiteY19" fmla="*/ 6056532 h 6119000"/>
              <a:gd name="connsiteX20" fmla="*/ 1008401 w 6978880"/>
              <a:gd name="connsiteY20" fmla="*/ 6088315 h 6119000"/>
              <a:gd name="connsiteX21" fmla="*/ 212534 w 6978880"/>
              <a:gd name="connsiteY21" fmla="*/ 5741182 h 6119000"/>
              <a:gd name="connsiteX22" fmla="*/ 49186 w 6978880"/>
              <a:gd name="connsiteY22" fmla="*/ 4200634 h 6119000"/>
              <a:gd name="connsiteX0" fmla="*/ 49186 w 6983126"/>
              <a:gd name="connsiteY0" fmla="*/ 4200634 h 6119000"/>
              <a:gd name="connsiteX1" fmla="*/ 588915 w 6983126"/>
              <a:gd name="connsiteY1" fmla="*/ 2602131 h 6119000"/>
              <a:gd name="connsiteX2" fmla="*/ 1105382 w 6983126"/>
              <a:gd name="connsiteY2" fmla="*/ 2153397 h 6119000"/>
              <a:gd name="connsiteX3" fmla="*/ 2375382 w 6983126"/>
              <a:gd name="connsiteY3" fmla="*/ 1797798 h 6119000"/>
              <a:gd name="connsiteX4" fmla="*/ 2714048 w 6983126"/>
              <a:gd name="connsiteY4" fmla="*/ 1501465 h 6119000"/>
              <a:gd name="connsiteX5" fmla="*/ 2857980 w 6983126"/>
              <a:gd name="connsiteY5" fmla="*/ 832599 h 6119000"/>
              <a:gd name="connsiteX6" fmla="*/ 2758520 w 6983126"/>
              <a:gd name="connsiteY6" fmla="*/ 60434 h 6119000"/>
              <a:gd name="connsiteX7" fmla="*/ 4441248 w 6983126"/>
              <a:gd name="connsiteY7" fmla="*/ 265332 h 6119000"/>
              <a:gd name="connsiteX8" fmla="*/ 5304848 w 6983126"/>
              <a:gd name="connsiteY8" fmla="*/ 603998 h 6119000"/>
              <a:gd name="connsiteX9" fmla="*/ 5685848 w 6983126"/>
              <a:gd name="connsiteY9" fmla="*/ 1323666 h 6119000"/>
              <a:gd name="connsiteX10" fmla="*/ 6811915 w 6983126"/>
              <a:gd name="connsiteY10" fmla="*/ 1662332 h 6119000"/>
              <a:gd name="connsiteX11" fmla="*/ 6974920 w 6983126"/>
              <a:gd name="connsiteY11" fmla="*/ 2219435 h 6119000"/>
              <a:gd name="connsiteX12" fmla="*/ 6879647 w 6983126"/>
              <a:gd name="connsiteY12" fmla="*/ 3364132 h 6119000"/>
              <a:gd name="connsiteX13" fmla="*/ 6401667 w 6983126"/>
              <a:gd name="connsiteY13" fmla="*/ 3988580 h 6119000"/>
              <a:gd name="connsiteX14" fmla="*/ 5423380 w 6983126"/>
              <a:gd name="connsiteY14" fmla="*/ 4447865 h 6119000"/>
              <a:gd name="connsiteX15" fmla="*/ 4869200 w 6983126"/>
              <a:gd name="connsiteY15" fmla="*/ 5461779 h 6119000"/>
              <a:gd name="connsiteX16" fmla="*/ 4113187 w 6983126"/>
              <a:gd name="connsiteY16" fmla="*/ 5580701 h 6119000"/>
              <a:gd name="connsiteX17" fmla="*/ 3044248 w 6983126"/>
              <a:gd name="connsiteY17" fmla="*/ 5523132 h 6119000"/>
              <a:gd name="connsiteX18" fmla="*/ 2617067 w 6983126"/>
              <a:gd name="connsiteY18" fmla="*/ 5775047 h 6119000"/>
              <a:gd name="connsiteX19" fmla="*/ 1757315 w 6983126"/>
              <a:gd name="connsiteY19" fmla="*/ 6056532 h 6119000"/>
              <a:gd name="connsiteX20" fmla="*/ 1008401 w 6983126"/>
              <a:gd name="connsiteY20" fmla="*/ 6088315 h 6119000"/>
              <a:gd name="connsiteX21" fmla="*/ 212534 w 6983126"/>
              <a:gd name="connsiteY21" fmla="*/ 5741182 h 6119000"/>
              <a:gd name="connsiteX22" fmla="*/ 49186 w 6983126"/>
              <a:gd name="connsiteY22" fmla="*/ 4200634 h 6119000"/>
              <a:gd name="connsiteX0" fmla="*/ 49186 w 6983126"/>
              <a:gd name="connsiteY0" fmla="*/ 4200634 h 6119000"/>
              <a:gd name="connsiteX1" fmla="*/ 588915 w 6983126"/>
              <a:gd name="connsiteY1" fmla="*/ 2602131 h 6119000"/>
              <a:gd name="connsiteX2" fmla="*/ 1105382 w 6983126"/>
              <a:gd name="connsiteY2" fmla="*/ 2153397 h 6119000"/>
              <a:gd name="connsiteX3" fmla="*/ 2375382 w 6983126"/>
              <a:gd name="connsiteY3" fmla="*/ 1797798 h 6119000"/>
              <a:gd name="connsiteX4" fmla="*/ 2714048 w 6983126"/>
              <a:gd name="connsiteY4" fmla="*/ 1501465 h 6119000"/>
              <a:gd name="connsiteX5" fmla="*/ 2857980 w 6983126"/>
              <a:gd name="connsiteY5" fmla="*/ 832599 h 6119000"/>
              <a:gd name="connsiteX6" fmla="*/ 2758520 w 6983126"/>
              <a:gd name="connsiteY6" fmla="*/ 60434 h 6119000"/>
              <a:gd name="connsiteX7" fmla="*/ 4441248 w 6983126"/>
              <a:gd name="connsiteY7" fmla="*/ 265332 h 6119000"/>
              <a:gd name="connsiteX8" fmla="*/ 5304848 w 6983126"/>
              <a:gd name="connsiteY8" fmla="*/ 603998 h 6119000"/>
              <a:gd name="connsiteX9" fmla="*/ 5470333 w 6983126"/>
              <a:gd name="connsiteY9" fmla="*/ 915179 h 6119000"/>
              <a:gd name="connsiteX10" fmla="*/ 5685848 w 6983126"/>
              <a:gd name="connsiteY10" fmla="*/ 1323666 h 6119000"/>
              <a:gd name="connsiteX11" fmla="*/ 6811915 w 6983126"/>
              <a:gd name="connsiteY11" fmla="*/ 1662332 h 6119000"/>
              <a:gd name="connsiteX12" fmla="*/ 6974920 w 6983126"/>
              <a:gd name="connsiteY12" fmla="*/ 2219435 h 6119000"/>
              <a:gd name="connsiteX13" fmla="*/ 6879647 w 6983126"/>
              <a:gd name="connsiteY13" fmla="*/ 3364132 h 6119000"/>
              <a:gd name="connsiteX14" fmla="*/ 6401667 w 6983126"/>
              <a:gd name="connsiteY14" fmla="*/ 3988580 h 6119000"/>
              <a:gd name="connsiteX15" fmla="*/ 5423380 w 6983126"/>
              <a:gd name="connsiteY15" fmla="*/ 4447865 h 6119000"/>
              <a:gd name="connsiteX16" fmla="*/ 4869200 w 6983126"/>
              <a:gd name="connsiteY16" fmla="*/ 5461779 h 6119000"/>
              <a:gd name="connsiteX17" fmla="*/ 4113187 w 6983126"/>
              <a:gd name="connsiteY17" fmla="*/ 5580701 h 6119000"/>
              <a:gd name="connsiteX18" fmla="*/ 3044248 w 6983126"/>
              <a:gd name="connsiteY18" fmla="*/ 5523132 h 6119000"/>
              <a:gd name="connsiteX19" fmla="*/ 2617067 w 6983126"/>
              <a:gd name="connsiteY19" fmla="*/ 5775047 h 6119000"/>
              <a:gd name="connsiteX20" fmla="*/ 1757315 w 6983126"/>
              <a:gd name="connsiteY20" fmla="*/ 6056532 h 6119000"/>
              <a:gd name="connsiteX21" fmla="*/ 1008401 w 6983126"/>
              <a:gd name="connsiteY21" fmla="*/ 6088315 h 6119000"/>
              <a:gd name="connsiteX22" fmla="*/ 212534 w 6983126"/>
              <a:gd name="connsiteY22" fmla="*/ 5741182 h 6119000"/>
              <a:gd name="connsiteX23" fmla="*/ 49186 w 6983126"/>
              <a:gd name="connsiteY23" fmla="*/ 4200634 h 6119000"/>
              <a:gd name="connsiteX0" fmla="*/ 49186 w 6983126"/>
              <a:gd name="connsiteY0" fmla="*/ 4200634 h 6119000"/>
              <a:gd name="connsiteX1" fmla="*/ 588915 w 6983126"/>
              <a:gd name="connsiteY1" fmla="*/ 2602131 h 6119000"/>
              <a:gd name="connsiteX2" fmla="*/ 1105382 w 6983126"/>
              <a:gd name="connsiteY2" fmla="*/ 2153397 h 6119000"/>
              <a:gd name="connsiteX3" fmla="*/ 2375382 w 6983126"/>
              <a:gd name="connsiteY3" fmla="*/ 1797798 h 6119000"/>
              <a:gd name="connsiteX4" fmla="*/ 2714048 w 6983126"/>
              <a:gd name="connsiteY4" fmla="*/ 1501465 h 6119000"/>
              <a:gd name="connsiteX5" fmla="*/ 2857980 w 6983126"/>
              <a:gd name="connsiteY5" fmla="*/ 832599 h 6119000"/>
              <a:gd name="connsiteX6" fmla="*/ 2758520 w 6983126"/>
              <a:gd name="connsiteY6" fmla="*/ 60434 h 6119000"/>
              <a:gd name="connsiteX7" fmla="*/ 4441248 w 6983126"/>
              <a:gd name="connsiteY7" fmla="*/ 265332 h 6119000"/>
              <a:gd name="connsiteX8" fmla="*/ 5304848 w 6983126"/>
              <a:gd name="connsiteY8" fmla="*/ 603998 h 6119000"/>
              <a:gd name="connsiteX9" fmla="*/ 5614266 w 6983126"/>
              <a:gd name="connsiteY9" fmla="*/ 906712 h 6119000"/>
              <a:gd name="connsiteX10" fmla="*/ 5685848 w 6983126"/>
              <a:gd name="connsiteY10" fmla="*/ 1323666 h 6119000"/>
              <a:gd name="connsiteX11" fmla="*/ 6811915 w 6983126"/>
              <a:gd name="connsiteY11" fmla="*/ 1662332 h 6119000"/>
              <a:gd name="connsiteX12" fmla="*/ 6974920 w 6983126"/>
              <a:gd name="connsiteY12" fmla="*/ 2219435 h 6119000"/>
              <a:gd name="connsiteX13" fmla="*/ 6879647 w 6983126"/>
              <a:gd name="connsiteY13" fmla="*/ 3364132 h 6119000"/>
              <a:gd name="connsiteX14" fmla="*/ 6401667 w 6983126"/>
              <a:gd name="connsiteY14" fmla="*/ 3988580 h 6119000"/>
              <a:gd name="connsiteX15" fmla="*/ 5423380 w 6983126"/>
              <a:gd name="connsiteY15" fmla="*/ 4447865 h 6119000"/>
              <a:gd name="connsiteX16" fmla="*/ 4869200 w 6983126"/>
              <a:gd name="connsiteY16" fmla="*/ 5461779 h 6119000"/>
              <a:gd name="connsiteX17" fmla="*/ 4113187 w 6983126"/>
              <a:gd name="connsiteY17" fmla="*/ 5580701 h 6119000"/>
              <a:gd name="connsiteX18" fmla="*/ 3044248 w 6983126"/>
              <a:gd name="connsiteY18" fmla="*/ 5523132 h 6119000"/>
              <a:gd name="connsiteX19" fmla="*/ 2617067 w 6983126"/>
              <a:gd name="connsiteY19" fmla="*/ 5775047 h 6119000"/>
              <a:gd name="connsiteX20" fmla="*/ 1757315 w 6983126"/>
              <a:gd name="connsiteY20" fmla="*/ 6056532 h 6119000"/>
              <a:gd name="connsiteX21" fmla="*/ 1008401 w 6983126"/>
              <a:gd name="connsiteY21" fmla="*/ 6088315 h 6119000"/>
              <a:gd name="connsiteX22" fmla="*/ 212534 w 6983126"/>
              <a:gd name="connsiteY22" fmla="*/ 5741182 h 6119000"/>
              <a:gd name="connsiteX23" fmla="*/ 49186 w 6983126"/>
              <a:gd name="connsiteY23" fmla="*/ 4200634 h 6119000"/>
              <a:gd name="connsiteX0" fmla="*/ 49186 w 6983126"/>
              <a:gd name="connsiteY0" fmla="*/ 4200634 h 6119000"/>
              <a:gd name="connsiteX1" fmla="*/ 588915 w 6983126"/>
              <a:gd name="connsiteY1" fmla="*/ 2602131 h 6119000"/>
              <a:gd name="connsiteX2" fmla="*/ 1105382 w 6983126"/>
              <a:gd name="connsiteY2" fmla="*/ 2153397 h 6119000"/>
              <a:gd name="connsiteX3" fmla="*/ 2375382 w 6983126"/>
              <a:gd name="connsiteY3" fmla="*/ 1797798 h 6119000"/>
              <a:gd name="connsiteX4" fmla="*/ 2714048 w 6983126"/>
              <a:gd name="connsiteY4" fmla="*/ 1501465 h 6119000"/>
              <a:gd name="connsiteX5" fmla="*/ 2857980 w 6983126"/>
              <a:gd name="connsiteY5" fmla="*/ 832599 h 6119000"/>
              <a:gd name="connsiteX6" fmla="*/ 2758520 w 6983126"/>
              <a:gd name="connsiteY6" fmla="*/ 60434 h 6119000"/>
              <a:gd name="connsiteX7" fmla="*/ 4441248 w 6983126"/>
              <a:gd name="connsiteY7" fmla="*/ 265332 h 6119000"/>
              <a:gd name="connsiteX8" fmla="*/ 5304848 w 6983126"/>
              <a:gd name="connsiteY8" fmla="*/ 603998 h 6119000"/>
              <a:gd name="connsiteX9" fmla="*/ 5614266 w 6983126"/>
              <a:gd name="connsiteY9" fmla="*/ 906712 h 6119000"/>
              <a:gd name="connsiteX10" fmla="*/ 5685848 w 6983126"/>
              <a:gd name="connsiteY10" fmla="*/ 1323666 h 6119000"/>
              <a:gd name="connsiteX11" fmla="*/ 6811915 w 6983126"/>
              <a:gd name="connsiteY11" fmla="*/ 1662332 h 6119000"/>
              <a:gd name="connsiteX12" fmla="*/ 6974920 w 6983126"/>
              <a:gd name="connsiteY12" fmla="*/ 2219435 h 6119000"/>
              <a:gd name="connsiteX13" fmla="*/ 6879647 w 6983126"/>
              <a:gd name="connsiteY13" fmla="*/ 3364132 h 6119000"/>
              <a:gd name="connsiteX14" fmla="*/ 6401667 w 6983126"/>
              <a:gd name="connsiteY14" fmla="*/ 3988580 h 6119000"/>
              <a:gd name="connsiteX15" fmla="*/ 5423380 w 6983126"/>
              <a:gd name="connsiteY15" fmla="*/ 4447865 h 6119000"/>
              <a:gd name="connsiteX16" fmla="*/ 4869200 w 6983126"/>
              <a:gd name="connsiteY16" fmla="*/ 5461779 h 6119000"/>
              <a:gd name="connsiteX17" fmla="*/ 4113187 w 6983126"/>
              <a:gd name="connsiteY17" fmla="*/ 5580701 h 6119000"/>
              <a:gd name="connsiteX18" fmla="*/ 3044248 w 6983126"/>
              <a:gd name="connsiteY18" fmla="*/ 5523132 h 6119000"/>
              <a:gd name="connsiteX19" fmla="*/ 2617067 w 6983126"/>
              <a:gd name="connsiteY19" fmla="*/ 5775047 h 6119000"/>
              <a:gd name="connsiteX20" fmla="*/ 1757315 w 6983126"/>
              <a:gd name="connsiteY20" fmla="*/ 6056532 h 6119000"/>
              <a:gd name="connsiteX21" fmla="*/ 1008401 w 6983126"/>
              <a:gd name="connsiteY21" fmla="*/ 6088315 h 6119000"/>
              <a:gd name="connsiteX22" fmla="*/ 212534 w 6983126"/>
              <a:gd name="connsiteY22" fmla="*/ 5741182 h 6119000"/>
              <a:gd name="connsiteX23" fmla="*/ 49186 w 6983126"/>
              <a:gd name="connsiteY23" fmla="*/ 4200634 h 6119000"/>
              <a:gd name="connsiteX0" fmla="*/ 49186 w 6983126"/>
              <a:gd name="connsiteY0" fmla="*/ 4177672 h 6096038"/>
              <a:gd name="connsiteX1" fmla="*/ 588915 w 6983126"/>
              <a:gd name="connsiteY1" fmla="*/ 2579169 h 6096038"/>
              <a:gd name="connsiteX2" fmla="*/ 1105382 w 6983126"/>
              <a:gd name="connsiteY2" fmla="*/ 2130435 h 6096038"/>
              <a:gd name="connsiteX3" fmla="*/ 2375382 w 6983126"/>
              <a:gd name="connsiteY3" fmla="*/ 1774836 h 6096038"/>
              <a:gd name="connsiteX4" fmla="*/ 2714048 w 6983126"/>
              <a:gd name="connsiteY4" fmla="*/ 1478503 h 6096038"/>
              <a:gd name="connsiteX5" fmla="*/ 2857980 w 6983126"/>
              <a:gd name="connsiteY5" fmla="*/ 809637 h 6096038"/>
              <a:gd name="connsiteX6" fmla="*/ 2854133 w 6983126"/>
              <a:gd name="connsiteY6" fmla="*/ 494284 h 6096038"/>
              <a:gd name="connsiteX7" fmla="*/ 2758520 w 6983126"/>
              <a:gd name="connsiteY7" fmla="*/ 37472 h 6096038"/>
              <a:gd name="connsiteX8" fmla="*/ 4441248 w 6983126"/>
              <a:gd name="connsiteY8" fmla="*/ 242370 h 6096038"/>
              <a:gd name="connsiteX9" fmla="*/ 5304848 w 6983126"/>
              <a:gd name="connsiteY9" fmla="*/ 581036 h 6096038"/>
              <a:gd name="connsiteX10" fmla="*/ 5614266 w 6983126"/>
              <a:gd name="connsiteY10" fmla="*/ 883750 h 6096038"/>
              <a:gd name="connsiteX11" fmla="*/ 5685848 w 6983126"/>
              <a:gd name="connsiteY11" fmla="*/ 1300704 h 6096038"/>
              <a:gd name="connsiteX12" fmla="*/ 6811915 w 6983126"/>
              <a:gd name="connsiteY12" fmla="*/ 1639370 h 6096038"/>
              <a:gd name="connsiteX13" fmla="*/ 6974920 w 6983126"/>
              <a:gd name="connsiteY13" fmla="*/ 2196473 h 6096038"/>
              <a:gd name="connsiteX14" fmla="*/ 6879647 w 6983126"/>
              <a:gd name="connsiteY14" fmla="*/ 3341170 h 6096038"/>
              <a:gd name="connsiteX15" fmla="*/ 6401667 w 6983126"/>
              <a:gd name="connsiteY15" fmla="*/ 3965618 h 6096038"/>
              <a:gd name="connsiteX16" fmla="*/ 5423380 w 6983126"/>
              <a:gd name="connsiteY16" fmla="*/ 4424903 h 6096038"/>
              <a:gd name="connsiteX17" fmla="*/ 4869200 w 6983126"/>
              <a:gd name="connsiteY17" fmla="*/ 5438817 h 6096038"/>
              <a:gd name="connsiteX18" fmla="*/ 4113187 w 6983126"/>
              <a:gd name="connsiteY18" fmla="*/ 5557739 h 6096038"/>
              <a:gd name="connsiteX19" fmla="*/ 3044248 w 6983126"/>
              <a:gd name="connsiteY19" fmla="*/ 5500170 h 6096038"/>
              <a:gd name="connsiteX20" fmla="*/ 2617067 w 6983126"/>
              <a:gd name="connsiteY20" fmla="*/ 5752085 h 6096038"/>
              <a:gd name="connsiteX21" fmla="*/ 1757315 w 6983126"/>
              <a:gd name="connsiteY21" fmla="*/ 6033570 h 6096038"/>
              <a:gd name="connsiteX22" fmla="*/ 1008401 w 6983126"/>
              <a:gd name="connsiteY22" fmla="*/ 6065353 h 6096038"/>
              <a:gd name="connsiteX23" fmla="*/ 212534 w 6983126"/>
              <a:gd name="connsiteY23" fmla="*/ 5718220 h 6096038"/>
              <a:gd name="connsiteX24" fmla="*/ 49186 w 6983126"/>
              <a:gd name="connsiteY24" fmla="*/ 4177672 h 6096038"/>
              <a:gd name="connsiteX0" fmla="*/ 49186 w 6983126"/>
              <a:gd name="connsiteY0" fmla="*/ 4206061 h 6124427"/>
              <a:gd name="connsiteX1" fmla="*/ 588915 w 6983126"/>
              <a:gd name="connsiteY1" fmla="*/ 2607558 h 6124427"/>
              <a:gd name="connsiteX2" fmla="*/ 1105382 w 6983126"/>
              <a:gd name="connsiteY2" fmla="*/ 2158824 h 6124427"/>
              <a:gd name="connsiteX3" fmla="*/ 2375382 w 6983126"/>
              <a:gd name="connsiteY3" fmla="*/ 1803225 h 6124427"/>
              <a:gd name="connsiteX4" fmla="*/ 2714048 w 6983126"/>
              <a:gd name="connsiteY4" fmla="*/ 1506892 h 6124427"/>
              <a:gd name="connsiteX5" fmla="*/ 2857980 w 6983126"/>
              <a:gd name="connsiteY5" fmla="*/ 838026 h 6124427"/>
              <a:gd name="connsiteX6" fmla="*/ 2693267 w 6983126"/>
              <a:gd name="connsiteY6" fmla="*/ 912139 h 6124427"/>
              <a:gd name="connsiteX7" fmla="*/ 2758520 w 6983126"/>
              <a:gd name="connsiteY7" fmla="*/ 65861 h 6124427"/>
              <a:gd name="connsiteX8" fmla="*/ 4441248 w 6983126"/>
              <a:gd name="connsiteY8" fmla="*/ 270759 h 6124427"/>
              <a:gd name="connsiteX9" fmla="*/ 5304848 w 6983126"/>
              <a:gd name="connsiteY9" fmla="*/ 609425 h 6124427"/>
              <a:gd name="connsiteX10" fmla="*/ 5614266 w 6983126"/>
              <a:gd name="connsiteY10" fmla="*/ 912139 h 6124427"/>
              <a:gd name="connsiteX11" fmla="*/ 5685848 w 6983126"/>
              <a:gd name="connsiteY11" fmla="*/ 1329093 h 6124427"/>
              <a:gd name="connsiteX12" fmla="*/ 6811915 w 6983126"/>
              <a:gd name="connsiteY12" fmla="*/ 1667759 h 6124427"/>
              <a:gd name="connsiteX13" fmla="*/ 6974920 w 6983126"/>
              <a:gd name="connsiteY13" fmla="*/ 2224862 h 6124427"/>
              <a:gd name="connsiteX14" fmla="*/ 6879647 w 6983126"/>
              <a:gd name="connsiteY14" fmla="*/ 3369559 h 6124427"/>
              <a:gd name="connsiteX15" fmla="*/ 6401667 w 6983126"/>
              <a:gd name="connsiteY15" fmla="*/ 3994007 h 6124427"/>
              <a:gd name="connsiteX16" fmla="*/ 5423380 w 6983126"/>
              <a:gd name="connsiteY16" fmla="*/ 4453292 h 6124427"/>
              <a:gd name="connsiteX17" fmla="*/ 4869200 w 6983126"/>
              <a:gd name="connsiteY17" fmla="*/ 5467206 h 6124427"/>
              <a:gd name="connsiteX18" fmla="*/ 4113187 w 6983126"/>
              <a:gd name="connsiteY18" fmla="*/ 5586128 h 6124427"/>
              <a:gd name="connsiteX19" fmla="*/ 3044248 w 6983126"/>
              <a:gd name="connsiteY19" fmla="*/ 5528559 h 6124427"/>
              <a:gd name="connsiteX20" fmla="*/ 2617067 w 6983126"/>
              <a:gd name="connsiteY20" fmla="*/ 5780474 h 6124427"/>
              <a:gd name="connsiteX21" fmla="*/ 1757315 w 6983126"/>
              <a:gd name="connsiteY21" fmla="*/ 6061959 h 6124427"/>
              <a:gd name="connsiteX22" fmla="*/ 1008401 w 6983126"/>
              <a:gd name="connsiteY22" fmla="*/ 6093742 h 6124427"/>
              <a:gd name="connsiteX23" fmla="*/ 212534 w 6983126"/>
              <a:gd name="connsiteY23" fmla="*/ 5746609 h 6124427"/>
              <a:gd name="connsiteX24" fmla="*/ 49186 w 6983126"/>
              <a:gd name="connsiteY24" fmla="*/ 4206061 h 6124427"/>
              <a:gd name="connsiteX0" fmla="*/ 49186 w 6983126"/>
              <a:gd name="connsiteY0" fmla="*/ 4206061 h 6124427"/>
              <a:gd name="connsiteX1" fmla="*/ 588915 w 6983126"/>
              <a:gd name="connsiteY1" fmla="*/ 2607558 h 6124427"/>
              <a:gd name="connsiteX2" fmla="*/ 1105382 w 6983126"/>
              <a:gd name="connsiteY2" fmla="*/ 2158824 h 6124427"/>
              <a:gd name="connsiteX3" fmla="*/ 2375382 w 6983126"/>
              <a:gd name="connsiteY3" fmla="*/ 1803225 h 6124427"/>
              <a:gd name="connsiteX4" fmla="*/ 2714048 w 6983126"/>
              <a:gd name="connsiteY4" fmla="*/ 1506892 h 6124427"/>
              <a:gd name="connsiteX5" fmla="*/ 2747913 w 6983126"/>
              <a:gd name="connsiteY5" fmla="*/ 1168226 h 6124427"/>
              <a:gd name="connsiteX6" fmla="*/ 2693267 w 6983126"/>
              <a:gd name="connsiteY6" fmla="*/ 912139 h 6124427"/>
              <a:gd name="connsiteX7" fmla="*/ 2758520 w 6983126"/>
              <a:gd name="connsiteY7" fmla="*/ 65861 h 6124427"/>
              <a:gd name="connsiteX8" fmla="*/ 4441248 w 6983126"/>
              <a:gd name="connsiteY8" fmla="*/ 270759 h 6124427"/>
              <a:gd name="connsiteX9" fmla="*/ 5304848 w 6983126"/>
              <a:gd name="connsiteY9" fmla="*/ 609425 h 6124427"/>
              <a:gd name="connsiteX10" fmla="*/ 5614266 w 6983126"/>
              <a:gd name="connsiteY10" fmla="*/ 912139 h 6124427"/>
              <a:gd name="connsiteX11" fmla="*/ 5685848 w 6983126"/>
              <a:gd name="connsiteY11" fmla="*/ 1329093 h 6124427"/>
              <a:gd name="connsiteX12" fmla="*/ 6811915 w 6983126"/>
              <a:gd name="connsiteY12" fmla="*/ 1667759 h 6124427"/>
              <a:gd name="connsiteX13" fmla="*/ 6974920 w 6983126"/>
              <a:gd name="connsiteY13" fmla="*/ 2224862 h 6124427"/>
              <a:gd name="connsiteX14" fmla="*/ 6879647 w 6983126"/>
              <a:gd name="connsiteY14" fmla="*/ 3369559 h 6124427"/>
              <a:gd name="connsiteX15" fmla="*/ 6401667 w 6983126"/>
              <a:gd name="connsiteY15" fmla="*/ 3994007 h 6124427"/>
              <a:gd name="connsiteX16" fmla="*/ 5423380 w 6983126"/>
              <a:gd name="connsiteY16" fmla="*/ 4453292 h 6124427"/>
              <a:gd name="connsiteX17" fmla="*/ 4869200 w 6983126"/>
              <a:gd name="connsiteY17" fmla="*/ 5467206 h 6124427"/>
              <a:gd name="connsiteX18" fmla="*/ 4113187 w 6983126"/>
              <a:gd name="connsiteY18" fmla="*/ 5586128 h 6124427"/>
              <a:gd name="connsiteX19" fmla="*/ 3044248 w 6983126"/>
              <a:gd name="connsiteY19" fmla="*/ 5528559 h 6124427"/>
              <a:gd name="connsiteX20" fmla="*/ 2617067 w 6983126"/>
              <a:gd name="connsiteY20" fmla="*/ 5780474 h 6124427"/>
              <a:gd name="connsiteX21" fmla="*/ 1757315 w 6983126"/>
              <a:gd name="connsiteY21" fmla="*/ 6061959 h 6124427"/>
              <a:gd name="connsiteX22" fmla="*/ 1008401 w 6983126"/>
              <a:gd name="connsiteY22" fmla="*/ 6093742 h 6124427"/>
              <a:gd name="connsiteX23" fmla="*/ 212534 w 6983126"/>
              <a:gd name="connsiteY23" fmla="*/ 5746609 h 6124427"/>
              <a:gd name="connsiteX24" fmla="*/ 49186 w 6983126"/>
              <a:gd name="connsiteY24" fmla="*/ 4206061 h 6124427"/>
              <a:gd name="connsiteX0" fmla="*/ 49186 w 6983126"/>
              <a:gd name="connsiteY0" fmla="*/ 4236237 h 6154603"/>
              <a:gd name="connsiteX1" fmla="*/ 588915 w 6983126"/>
              <a:gd name="connsiteY1" fmla="*/ 2637734 h 6154603"/>
              <a:gd name="connsiteX2" fmla="*/ 1105382 w 6983126"/>
              <a:gd name="connsiteY2" fmla="*/ 2189000 h 6154603"/>
              <a:gd name="connsiteX3" fmla="*/ 2375382 w 6983126"/>
              <a:gd name="connsiteY3" fmla="*/ 1833401 h 6154603"/>
              <a:gd name="connsiteX4" fmla="*/ 2714048 w 6983126"/>
              <a:gd name="connsiteY4" fmla="*/ 1537068 h 6154603"/>
              <a:gd name="connsiteX5" fmla="*/ 2747913 w 6983126"/>
              <a:gd name="connsiteY5" fmla="*/ 1198402 h 6154603"/>
              <a:gd name="connsiteX6" fmla="*/ 2693267 w 6983126"/>
              <a:gd name="connsiteY6" fmla="*/ 942315 h 6154603"/>
              <a:gd name="connsiteX7" fmla="*/ 2758520 w 6983126"/>
              <a:gd name="connsiteY7" fmla="*/ 96037 h 6154603"/>
              <a:gd name="connsiteX8" fmla="*/ 4737581 w 6983126"/>
              <a:gd name="connsiteY8" fmla="*/ 233202 h 6154603"/>
              <a:gd name="connsiteX9" fmla="*/ 5304848 w 6983126"/>
              <a:gd name="connsiteY9" fmla="*/ 639601 h 6154603"/>
              <a:gd name="connsiteX10" fmla="*/ 5614266 w 6983126"/>
              <a:gd name="connsiteY10" fmla="*/ 942315 h 6154603"/>
              <a:gd name="connsiteX11" fmla="*/ 5685848 w 6983126"/>
              <a:gd name="connsiteY11" fmla="*/ 1359269 h 6154603"/>
              <a:gd name="connsiteX12" fmla="*/ 6811915 w 6983126"/>
              <a:gd name="connsiteY12" fmla="*/ 1697935 h 6154603"/>
              <a:gd name="connsiteX13" fmla="*/ 6974920 w 6983126"/>
              <a:gd name="connsiteY13" fmla="*/ 2255038 h 6154603"/>
              <a:gd name="connsiteX14" fmla="*/ 6879647 w 6983126"/>
              <a:gd name="connsiteY14" fmla="*/ 3399735 h 6154603"/>
              <a:gd name="connsiteX15" fmla="*/ 6401667 w 6983126"/>
              <a:gd name="connsiteY15" fmla="*/ 4024183 h 6154603"/>
              <a:gd name="connsiteX16" fmla="*/ 5423380 w 6983126"/>
              <a:gd name="connsiteY16" fmla="*/ 4483468 h 6154603"/>
              <a:gd name="connsiteX17" fmla="*/ 4869200 w 6983126"/>
              <a:gd name="connsiteY17" fmla="*/ 5497382 h 6154603"/>
              <a:gd name="connsiteX18" fmla="*/ 4113187 w 6983126"/>
              <a:gd name="connsiteY18" fmla="*/ 5616304 h 6154603"/>
              <a:gd name="connsiteX19" fmla="*/ 3044248 w 6983126"/>
              <a:gd name="connsiteY19" fmla="*/ 5558735 h 6154603"/>
              <a:gd name="connsiteX20" fmla="*/ 2617067 w 6983126"/>
              <a:gd name="connsiteY20" fmla="*/ 5810650 h 6154603"/>
              <a:gd name="connsiteX21" fmla="*/ 1757315 w 6983126"/>
              <a:gd name="connsiteY21" fmla="*/ 6092135 h 6154603"/>
              <a:gd name="connsiteX22" fmla="*/ 1008401 w 6983126"/>
              <a:gd name="connsiteY22" fmla="*/ 6123918 h 6154603"/>
              <a:gd name="connsiteX23" fmla="*/ 212534 w 6983126"/>
              <a:gd name="connsiteY23" fmla="*/ 5776785 h 6154603"/>
              <a:gd name="connsiteX24" fmla="*/ 49186 w 6983126"/>
              <a:gd name="connsiteY24" fmla="*/ 4236237 h 6154603"/>
              <a:gd name="connsiteX0" fmla="*/ 49186 w 6983126"/>
              <a:gd name="connsiteY0" fmla="*/ 4184868 h 6103234"/>
              <a:gd name="connsiteX1" fmla="*/ 588915 w 6983126"/>
              <a:gd name="connsiteY1" fmla="*/ 2586365 h 6103234"/>
              <a:gd name="connsiteX2" fmla="*/ 1105382 w 6983126"/>
              <a:gd name="connsiteY2" fmla="*/ 2137631 h 6103234"/>
              <a:gd name="connsiteX3" fmla="*/ 2375382 w 6983126"/>
              <a:gd name="connsiteY3" fmla="*/ 1782032 h 6103234"/>
              <a:gd name="connsiteX4" fmla="*/ 2714048 w 6983126"/>
              <a:gd name="connsiteY4" fmla="*/ 1485699 h 6103234"/>
              <a:gd name="connsiteX5" fmla="*/ 2747913 w 6983126"/>
              <a:gd name="connsiteY5" fmla="*/ 1147033 h 6103234"/>
              <a:gd name="connsiteX6" fmla="*/ 2693267 w 6983126"/>
              <a:gd name="connsiteY6" fmla="*/ 890946 h 6103234"/>
              <a:gd name="connsiteX7" fmla="*/ 2758520 w 6983126"/>
              <a:gd name="connsiteY7" fmla="*/ 44668 h 6103234"/>
              <a:gd name="connsiteX8" fmla="*/ 4737581 w 6983126"/>
              <a:gd name="connsiteY8" fmla="*/ 181833 h 6103234"/>
              <a:gd name="connsiteX9" fmla="*/ 5304848 w 6983126"/>
              <a:gd name="connsiteY9" fmla="*/ 588232 h 6103234"/>
              <a:gd name="connsiteX10" fmla="*/ 5614266 w 6983126"/>
              <a:gd name="connsiteY10" fmla="*/ 890946 h 6103234"/>
              <a:gd name="connsiteX11" fmla="*/ 5685848 w 6983126"/>
              <a:gd name="connsiteY11" fmla="*/ 1307900 h 6103234"/>
              <a:gd name="connsiteX12" fmla="*/ 6811915 w 6983126"/>
              <a:gd name="connsiteY12" fmla="*/ 1646566 h 6103234"/>
              <a:gd name="connsiteX13" fmla="*/ 6974920 w 6983126"/>
              <a:gd name="connsiteY13" fmla="*/ 2203669 h 6103234"/>
              <a:gd name="connsiteX14" fmla="*/ 6879647 w 6983126"/>
              <a:gd name="connsiteY14" fmla="*/ 3348366 h 6103234"/>
              <a:gd name="connsiteX15" fmla="*/ 6401667 w 6983126"/>
              <a:gd name="connsiteY15" fmla="*/ 3972814 h 6103234"/>
              <a:gd name="connsiteX16" fmla="*/ 5423380 w 6983126"/>
              <a:gd name="connsiteY16" fmla="*/ 4432099 h 6103234"/>
              <a:gd name="connsiteX17" fmla="*/ 4869200 w 6983126"/>
              <a:gd name="connsiteY17" fmla="*/ 5446013 h 6103234"/>
              <a:gd name="connsiteX18" fmla="*/ 4113187 w 6983126"/>
              <a:gd name="connsiteY18" fmla="*/ 5564935 h 6103234"/>
              <a:gd name="connsiteX19" fmla="*/ 3044248 w 6983126"/>
              <a:gd name="connsiteY19" fmla="*/ 5507366 h 6103234"/>
              <a:gd name="connsiteX20" fmla="*/ 2617067 w 6983126"/>
              <a:gd name="connsiteY20" fmla="*/ 5759281 h 6103234"/>
              <a:gd name="connsiteX21" fmla="*/ 1757315 w 6983126"/>
              <a:gd name="connsiteY21" fmla="*/ 6040766 h 6103234"/>
              <a:gd name="connsiteX22" fmla="*/ 1008401 w 6983126"/>
              <a:gd name="connsiteY22" fmla="*/ 6072549 h 6103234"/>
              <a:gd name="connsiteX23" fmla="*/ 212534 w 6983126"/>
              <a:gd name="connsiteY23" fmla="*/ 5725416 h 6103234"/>
              <a:gd name="connsiteX24" fmla="*/ 49186 w 6983126"/>
              <a:gd name="connsiteY24" fmla="*/ 4184868 h 6103234"/>
              <a:gd name="connsiteX0" fmla="*/ 49186 w 6983126"/>
              <a:gd name="connsiteY0" fmla="*/ 4184868 h 6103234"/>
              <a:gd name="connsiteX1" fmla="*/ 588915 w 6983126"/>
              <a:gd name="connsiteY1" fmla="*/ 2586365 h 6103234"/>
              <a:gd name="connsiteX2" fmla="*/ 850138 w 6983126"/>
              <a:gd name="connsiteY2" fmla="*/ 2355680 h 6103234"/>
              <a:gd name="connsiteX3" fmla="*/ 1105382 w 6983126"/>
              <a:gd name="connsiteY3" fmla="*/ 2137631 h 6103234"/>
              <a:gd name="connsiteX4" fmla="*/ 2375382 w 6983126"/>
              <a:gd name="connsiteY4" fmla="*/ 1782032 h 6103234"/>
              <a:gd name="connsiteX5" fmla="*/ 2714048 w 6983126"/>
              <a:gd name="connsiteY5" fmla="*/ 1485699 h 6103234"/>
              <a:gd name="connsiteX6" fmla="*/ 2747913 w 6983126"/>
              <a:gd name="connsiteY6" fmla="*/ 1147033 h 6103234"/>
              <a:gd name="connsiteX7" fmla="*/ 2693267 w 6983126"/>
              <a:gd name="connsiteY7" fmla="*/ 890946 h 6103234"/>
              <a:gd name="connsiteX8" fmla="*/ 2758520 w 6983126"/>
              <a:gd name="connsiteY8" fmla="*/ 44668 h 6103234"/>
              <a:gd name="connsiteX9" fmla="*/ 4737581 w 6983126"/>
              <a:gd name="connsiteY9" fmla="*/ 181833 h 6103234"/>
              <a:gd name="connsiteX10" fmla="*/ 5304848 w 6983126"/>
              <a:gd name="connsiteY10" fmla="*/ 588232 h 6103234"/>
              <a:gd name="connsiteX11" fmla="*/ 5614266 w 6983126"/>
              <a:gd name="connsiteY11" fmla="*/ 890946 h 6103234"/>
              <a:gd name="connsiteX12" fmla="*/ 5685848 w 6983126"/>
              <a:gd name="connsiteY12" fmla="*/ 1307900 h 6103234"/>
              <a:gd name="connsiteX13" fmla="*/ 6811915 w 6983126"/>
              <a:gd name="connsiteY13" fmla="*/ 1646566 h 6103234"/>
              <a:gd name="connsiteX14" fmla="*/ 6974920 w 6983126"/>
              <a:gd name="connsiteY14" fmla="*/ 2203669 h 6103234"/>
              <a:gd name="connsiteX15" fmla="*/ 6879647 w 6983126"/>
              <a:gd name="connsiteY15" fmla="*/ 3348366 h 6103234"/>
              <a:gd name="connsiteX16" fmla="*/ 6401667 w 6983126"/>
              <a:gd name="connsiteY16" fmla="*/ 3972814 h 6103234"/>
              <a:gd name="connsiteX17" fmla="*/ 5423380 w 6983126"/>
              <a:gd name="connsiteY17" fmla="*/ 4432099 h 6103234"/>
              <a:gd name="connsiteX18" fmla="*/ 4869200 w 6983126"/>
              <a:gd name="connsiteY18" fmla="*/ 5446013 h 6103234"/>
              <a:gd name="connsiteX19" fmla="*/ 4113187 w 6983126"/>
              <a:gd name="connsiteY19" fmla="*/ 5564935 h 6103234"/>
              <a:gd name="connsiteX20" fmla="*/ 3044248 w 6983126"/>
              <a:gd name="connsiteY20" fmla="*/ 5507366 h 6103234"/>
              <a:gd name="connsiteX21" fmla="*/ 2617067 w 6983126"/>
              <a:gd name="connsiteY21" fmla="*/ 5759281 h 6103234"/>
              <a:gd name="connsiteX22" fmla="*/ 1757315 w 6983126"/>
              <a:gd name="connsiteY22" fmla="*/ 6040766 h 6103234"/>
              <a:gd name="connsiteX23" fmla="*/ 1008401 w 6983126"/>
              <a:gd name="connsiteY23" fmla="*/ 6072549 h 6103234"/>
              <a:gd name="connsiteX24" fmla="*/ 212534 w 6983126"/>
              <a:gd name="connsiteY24" fmla="*/ 5725416 h 6103234"/>
              <a:gd name="connsiteX25" fmla="*/ 49186 w 6983126"/>
              <a:gd name="connsiteY25" fmla="*/ 4184868 h 6103234"/>
              <a:gd name="connsiteX0" fmla="*/ 49186 w 6983126"/>
              <a:gd name="connsiteY0" fmla="*/ 4184868 h 6103234"/>
              <a:gd name="connsiteX1" fmla="*/ 588915 w 6983126"/>
              <a:gd name="connsiteY1" fmla="*/ 2586365 h 6103234"/>
              <a:gd name="connsiteX2" fmla="*/ 820830 w 6983126"/>
              <a:gd name="connsiteY2" fmla="*/ 2308788 h 6103234"/>
              <a:gd name="connsiteX3" fmla="*/ 1105382 w 6983126"/>
              <a:gd name="connsiteY3" fmla="*/ 2137631 h 6103234"/>
              <a:gd name="connsiteX4" fmla="*/ 2375382 w 6983126"/>
              <a:gd name="connsiteY4" fmla="*/ 1782032 h 6103234"/>
              <a:gd name="connsiteX5" fmla="*/ 2714048 w 6983126"/>
              <a:gd name="connsiteY5" fmla="*/ 1485699 h 6103234"/>
              <a:gd name="connsiteX6" fmla="*/ 2747913 w 6983126"/>
              <a:gd name="connsiteY6" fmla="*/ 1147033 h 6103234"/>
              <a:gd name="connsiteX7" fmla="*/ 2693267 w 6983126"/>
              <a:gd name="connsiteY7" fmla="*/ 890946 h 6103234"/>
              <a:gd name="connsiteX8" fmla="*/ 2758520 w 6983126"/>
              <a:gd name="connsiteY8" fmla="*/ 44668 h 6103234"/>
              <a:gd name="connsiteX9" fmla="*/ 4737581 w 6983126"/>
              <a:gd name="connsiteY9" fmla="*/ 181833 h 6103234"/>
              <a:gd name="connsiteX10" fmla="*/ 5304848 w 6983126"/>
              <a:gd name="connsiteY10" fmla="*/ 588232 h 6103234"/>
              <a:gd name="connsiteX11" fmla="*/ 5614266 w 6983126"/>
              <a:gd name="connsiteY11" fmla="*/ 890946 h 6103234"/>
              <a:gd name="connsiteX12" fmla="*/ 5685848 w 6983126"/>
              <a:gd name="connsiteY12" fmla="*/ 1307900 h 6103234"/>
              <a:gd name="connsiteX13" fmla="*/ 6811915 w 6983126"/>
              <a:gd name="connsiteY13" fmla="*/ 1646566 h 6103234"/>
              <a:gd name="connsiteX14" fmla="*/ 6974920 w 6983126"/>
              <a:gd name="connsiteY14" fmla="*/ 2203669 h 6103234"/>
              <a:gd name="connsiteX15" fmla="*/ 6879647 w 6983126"/>
              <a:gd name="connsiteY15" fmla="*/ 3348366 h 6103234"/>
              <a:gd name="connsiteX16" fmla="*/ 6401667 w 6983126"/>
              <a:gd name="connsiteY16" fmla="*/ 3972814 h 6103234"/>
              <a:gd name="connsiteX17" fmla="*/ 5423380 w 6983126"/>
              <a:gd name="connsiteY17" fmla="*/ 4432099 h 6103234"/>
              <a:gd name="connsiteX18" fmla="*/ 4869200 w 6983126"/>
              <a:gd name="connsiteY18" fmla="*/ 5446013 h 6103234"/>
              <a:gd name="connsiteX19" fmla="*/ 4113187 w 6983126"/>
              <a:gd name="connsiteY19" fmla="*/ 5564935 h 6103234"/>
              <a:gd name="connsiteX20" fmla="*/ 3044248 w 6983126"/>
              <a:gd name="connsiteY20" fmla="*/ 5507366 h 6103234"/>
              <a:gd name="connsiteX21" fmla="*/ 2617067 w 6983126"/>
              <a:gd name="connsiteY21" fmla="*/ 5759281 h 6103234"/>
              <a:gd name="connsiteX22" fmla="*/ 1757315 w 6983126"/>
              <a:gd name="connsiteY22" fmla="*/ 6040766 h 6103234"/>
              <a:gd name="connsiteX23" fmla="*/ 1008401 w 6983126"/>
              <a:gd name="connsiteY23" fmla="*/ 6072549 h 6103234"/>
              <a:gd name="connsiteX24" fmla="*/ 212534 w 6983126"/>
              <a:gd name="connsiteY24" fmla="*/ 5725416 h 6103234"/>
              <a:gd name="connsiteX25" fmla="*/ 49186 w 6983126"/>
              <a:gd name="connsiteY25" fmla="*/ 4184868 h 6103234"/>
              <a:gd name="connsiteX0" fmla="*/ 49186 w 6983126"/>
              <a:gd name="connsiteY0" fmla="*/ 4184868 h 6093240"/>
              <a:gd name="connsiteX1" fmla="*/ 588915 w 6983126"/>
              <a:gd name="connsiteY1" fmla="*/ 2586365 h 6093240"/>
              <a:gd name="connsiteX2" fmla="*/ 820830 w 6983126"/>
              <a:gd name="connsiteY2" fmla="*/ 2308788 h 6093240"/>
              <a:gd name="connsiteX3" fmla="*/ 1105382 w 6983126"/>
              <a:gd name="connsiteY3" fmla="*/ 2137631 h 6093240"/>
              <a:gd name="connsiteX4" fmla="*/ 2375382 w 6983126"/>
              <a:gd name="connsiteY4" fmla="*/ 1782032 h 6093240"/>
              <a:gd name="connsiteX5" fmla="*/ 2714048 w 6983126"/>
              <a:gd name="connsiteY5" fmla="*/ 1485699 h 6093240"/>
              <a:gd name="connsiteX6" fmla="*/ 2747913 w 6983126"/>
              <a:gd name="connsiteY6" fmla="*/ 1147033 h 6093240"/>
              <a:gd name="connsiteX7" fmla="*/ 2693267 w 6983126"/>
              <a:gd name="connsiteY7" fmla="*/ 890946 h 6093240"/>
              <a:gd name="connsiteX8" fmla="*/ 2758520 w 6983126"/>
              <a:gd name="connsiteY8" fmla="*/ 44668 h 6093240"/>
              <a:gd name="connsiteX9" fmla="*/ 4737581 w 6983126"/>
              <a:gd name="connsiteY9" fmla="*/ 181833 h 6093240"/>
              <a:gd name="connsiteX10" fmla="*/ 5304848 w 6983126"/>
              <a:gd name="connsiteY10" fmla="*/ 588232 h 6093240"/>
              <a:gd name="connsiteX11" fmla="*/ 5614266 w 6983126"/>
              <a:gd name="connsiteY11" fmla="*/ 890946 h 6093240"/>
              <a:gd name="connsiteX12" fmla="*/ 5685848 w 6983126"/>
              <a:gd name="connsiteY12" fmla="*/ 1307900 h 6093240"/>
              <a:gd name="connsiteX13" fmla="*/ 6811915 w 6983126"/>
              <a:gd name="connsiteY13" fmla="*/ 1646566 h 6093240"/>
              <a:gd name="connsiteX14" fmla="*/ 6974920 w 6983126"/>
              <a:gd name="connsiteY14" fmla="*/ 2203669 h 6093240"/>
              <a:gd name="connsiteX15" fmla="*/ 6879647 w 6983126"/>
              <a:gd name="connsiteY15" fmla="*/ 3348366 h 6093240"/>
              <a:gd name="connsiteX16" fmla="*/ 6401667 w 6983126"/>
              <a:gd name="connsiteY16" fmla="*/ 3972814 h 6093240"/>
              <a:gd name="connsiteX17" fmla="*/ 5423380 w 6983126"/>
              <a:gd name="connsiteY17" fmla="*/ 4432099 h 6093240"/>
              <a:gd name="connsiteX18" fmla="*/ 4869200 w 6983126"/>
              <a:gd name="connsiteY18" fmla="*/ 5446013 h 6093240"/>
              <a:gd name="connsiteX19" fmla="*/ 4113187 w 6983126"/>
              <a:gd name="connsiteY19" fmla="*/ 5564935 h 6093240"/>
              <a:gd name="connsiteX20" fmla="*/ 3044248 w 6983126"/>
              <a:gd name="connsiteY20" fmla="*/ 5507366 h 6093240"/>
              <a:gd name="connsiteX21" fmla="*/ 2617067 w 6983126"/>
              <a:gd name="connsiteY21" fmla="*/ 5759281 h 6093240"/>
              <a:gd name="connsiteX22" fmla="*/ 1950746 w 6983126"/>
              <a:gd name="connsiteY22" fmla="*/ 6011458 h 6093240"/>
              <a:gd name="connsiteX23" fmla="*/ 1008401 w 6983126"/>
              <a:gd name="connsiteY23" fmla="*/ 6072549 h 6093240"/>
              <a:gd name="connsiteX24" fmla="*/ 212534 w 6983126"/>
              <a:gd name="connsiteY24" fmla="*/ 5725416 h 6093240"/>
              <a:gd name="connsiteX25" fmla="*/ 49186 w 6983126"/>
              <a:gd name="connsiteY25" fmla="*/ 4184868 h 6093240"/>
              <a:gd name="connsiteX0" fmla="*/ 49186 w 6983126"/>
              <a:gd name="connsiteY0" fmla="*/ 4184868 h 6093240"/>
              <a:gd name="connsiteX1" fmla="*/ 588915 w 6983126"/>
              <a:gd name="connsiteY1" fmla="*/ 2586365 h 6093240"/>
              <a:gd name="connsiteX2" fmla="*/ 820830 w 6983126"/>
              <a:gd name="connsiteY2" fmla="*/ 2308788 h 6093240"/>
              <a:gd name="connsiteX3" fmla="*/ 1105382 w 6983126"/>
              <a:gd name="connsiteY3" fmla="*/ 2137631 h 6093240"/>
              <a:gd name="connsiteX4" fmla="*/ 2375382 w 6983126"/>
              <a:gd name="connsiteY4" fmla="*/ 1782032 h 6093240"/>
              <a:gd name="connsiteX5" fmla="*/ 2714048 w 6983126"/>
              <a:gd name="connsiteY5" fmla="*/ 1485699 h 6093240"/>
              <a:gd name="connsiteX6" fmla="*/ 2747913 w 6983126"/>
              <a:gd name="connsiteY6" fmla="*/ 1147033 h 6093240"/>
              <a:gd name="connsiteX7" fmla="*/ 2693267 w 6983126"/>
              <a:gd name="connsiteY7" fmla="*/ 890946 h 6093240"/>
              <a:gd name="connsiteX8" fmla="*/ 2758520 w 6983126"/>
              <a:gd name="connsiteY8" fmla="*/ 44668 h 6093240"/>
              <a:gd name="connsiteX9" fmla="*/ 4737581 w 6983126"/>
              <a:gd name="connsiteY9" fmla="*/ 181833 h 6093240"/>
              <a:gd name="connsiteX10" fmla="*/ 5304848 w 6983126"/>
              <a:gd name="connsiteY10" fmla="*/ 588232 h 6093240"/>
              <a:gd name="connsiteX11" fmla="*/ 5614266 w 6983126"/>
              <a:gd name="connsiteY11" fmla="*/ 890946 h 6093240"/>
              <a:gd name="connsiteX12" fmla="*/ 5685848 w 6983126"/>
              <a:gd name="connsiteY12" fmla="*/ 1307900 h 6093240"/>
              <a:gd name="connsiteX13" fmla="*/ 6811915 w 6983126"/>
              <a:gd name="connsiteY13" fmla="*/ 1646566 h 6093240"/>
              <a:gd name="connsiteX14" fmla="*/ 6974920 w 6983126"/>
              <a:gd name="connsiteY14" fmla="*/ 2203669 h 6093240"/>
              <a:gd name="connsiteX15" fmla="*/ 6879647 w 6983126"/>
              <a:gd name="connsiteY15" fmla="*/ 3348366 h 6093240"/>
              <a:gd name="connsiteX16" fmla="*/ 6401667 w 6983126"/>
              <a:gd name="connsiteY16" fmla="*/ 3972814 h 6093240"/>
              <a:gd name="connsiteX17" fmla="*/ 5423380 w 6983126"/>
              <a:gd name="connsiteY17" fmla="*/ 4432099 h 6093240"/>
              <a:gd name="connsiteX18" fmla="*/ 4869200 w 6983126"/>
              <a:gd name="connsiteY18" fmla="*/ 5446013 h 6093240"/>
              <a:gd name="connsiteX19" fmla="*/ 4113187 w 6983126"/>
              <a:gd name="connsiteY19" fmla="*/ 5564935 h 6093240"/>
              <a:gd name="connsiteX20" fmla="*/ 3296294 w 6983126"/>
              <a:gd name="connsiteY20" fmla="*/ 5448750 h 6093240"/>
              <a:gd name="connsiteX21" fmla="*/ 2617067 w 6983126"/>
              <a:gd name="connsiteY21" fmla="*/ 5759281 h 6093240"/>
              <a:gd name="connsiteX22" fmla="*/ 1950746 w 6983126"/>
              <a:gd name="connsiteY22" fmla="*/ 6011458 h 6093240"/>
              <a:gd name="connsiteX23" fmla="*/ 1008401 w 6983126"/>
              <a:gd name="connsiteY23" fmla="*/ 6072549 h 6093240"/>
              <a:gd name="connsiteX24" fmla="*/ 212534 w 6983126"/>
              <a:gd name="connsiteY24" fmla="*/ 5725416 h 6093240"/>
              <a:gd name="connsiteX25" fmla="*/ 49186 w 6983126"/>
              <a:gd name="connsiteY25" fmla="*/ 4184868 h 6093240"/>
              <a:gd name="connsiteX0" fmla="*/ 49186 w 6983126"/>
              <a:gd name="connsiteY0" fmla="*/ 4184868 h 6093240"/>
              <a:gd name="connsiteX1" fmla="*/ 588915 w 6983126"/>
              <a:gd name="connsiteY1" fmla="*/ 2586365 h 6093240"/>
              <a:gd name="connsiteX2" fmla="*/ 820830 w 6983126"/>
              <a:gd name="connsiteY2" fmla="*/ 2308788 h 6093240"/>
              <a:gd name="connsiteX3" fmla="*/ 1105382 w 6983126"/>
              <a:gd name="connsiteY3" fmla="*/ 2137631 h 6093240"/>
              <a:gd name="connsiteX4" fmla="*/ 2375382 w 6983126"/>
              <a:gd name="connsiteY4" fmla="*/ 1782032 h 6093240"/>
              <a:gd name="connsiteX5" fmla="*/ 2714048 w 6983126"/>
              <a:gd name="connsiteY5" fmla="*/ 1485699 h 6093240"/>
              <a:gd name="connsiteX6" fmla="*/ 2747913 w 6983126"/>
              <a:gd name="connsiteY6" fmla="*/ 1147033 h 6093240"/>
              <a:gd name="connsiteX7" fmla="*/ 2693267 w 6983126"/>
              <a:gd name="connsiteY7" fmla="*/ 890946 h 6093240"/>
              <a:gd name="connsiteX8" fmla="*/ 2758520 w 6983126"/>
              <a:gd name="connsiteY8" fmla="*/ 44668 h 6093240"/>
              <a:gd name="connsiteX9" fmla="*/ 4737581 w 6983126"/>
              <a:gd name="connsiteY9" fmla="*/ 181833 h 6093240"/>
              <a:gd name="connsiteX10" fmla="*/ 5304848 w 6983126"/>
              <a:gd name="connsiteY10" fmla="*/ 588232 h 6093240"/>
              <a:gd name="connsiteX11" fmla="*/ 5614266 w 6983126"/>
              <a:gd name="connsiteY11" fmla="*/ 890946 h 6093240"/>
              <a:gd name="connsiteX12" fmla="*/ 5685848 w 6983126"/>
              <a:gd name="connsiteY12" fmla="*/ 1307900 h 6093240"/>
              <a:gd name="connsiteX13" fmla="*/ 6811915 w 6983126"/>
              <a:gd name="connsiteY13" fmla="*/ 1646566 h 6093240"/>
              <a:gd name="connsiteX14" fmla="*/ 6974920 w 6983126"/>
              <a:gd name="connsiteY14" fmla="*/ 2203669 h 6093240"/>
              <a:gd name="connsiteX15" fmla="*/ 6879647 w 6983126"/>
              <a:gd name="connsiteY15" fmla="*/ 3348366 h 6093240"/>
              <a:gd name="connsiteX16" fmla="*/ 6401667 w 6983126"/>
              <a:gd name="connsiteY16" fmla="*/ 3972814 h 6093240"/>
              <a:gd name="connsiteX17" fmla="*/ 5423380 w 6983126"/>
              <a:gd name="connsiteY17" fmla="*/ 4432099 h 6093240"/>
              <a:gd name="connsiteX18" fmla="*/ 4869200 w 6983126"/>
              <a:gd name="connsiteY18" fmla="*/ 5446013 h 6093240"/>
              <a:gd name="connsiteX19" fmla="*/ 4113187 w 6983126"/>
              <a:gd name="connsiteY19" fmla="*/ 5564935 h 6093240"/>
              <a:gd name="connsiteX20" fmla="*/ 3647986 w 6983126"/>
              <a:gd name="connsiteY20" fmla="*/ 4973965 h 6093240"/>
              <a:gd name="connsiteX21" fmla="*/ 2617067 w 6983126"/>
              <a:gd name="connsiteY21" fmla="*/ 5759281 h 6093240"/>
              <a:gd name="connsiteX22" fmla="*/ 1950746 w 6983126"/>
              <a:gd name="connsiteY22" fmla="*/ 6011458 h 6093240"/>
              <a:gd name="connsiteX23" fmla="*/ 1008401 w 6983126"/>
              <a:gd name="connsiteY23" fmla="*/ 6072549 h 6093240"/>
              <a:gd name="connsiteX24" fmla="*/ 212534 w 6983126"/>
              <a:gd name="connsiteY24" fmla="*/ 5725416 h 6093240"/>
              <a:gd name="connsiteX25" fmla="*/ 49186 w 6983126"/>
              <a:gd name="connsiteY25" fmla="*/ 4184868 h 6093240"/>
              <a:gd name="connsiteX0" fmla="*/ 49186 w 6983126"/>
              <a:gd name="connsiteY0" fmla="*/ 4184868 h 6093240"/>
              <a:gd name="connsiteX1" fmla="*/ 588915 w 6983126"/>
              <a:gd name="connsiteY1" fmla="*/ 2586365 h 6093240"/>
              <a:gd name="connsiteX2" fmla="*/ 820830 w 6983126"/>
              <a:gd name="connsiteY2" fmla="*/ 2308788 h 6093240"/>
              <a:gd name="connsiteX3" fmla="*/ 1105382 w 6983126"/>
              <a:gd name="connsiteY3" fmla="*/ 2137631 h 6093240"/>
              <a:gd name="connsiteX4" fmla="*/ 2375382 w 6983126"/>
              <a:gd name="connsiteY4" fmla="*/ 1782032 h 6093240"/>
              <a:gd name="connsiteX5" fmla="*/ 2714048 w 6983126"/>
              <a:gd name="connsiteY5" fmla="*/ 1485699 h 6093240"/>
              <a:gd name="connsiteX6" fmla="*/ 2747913 w 6983126"/>
              <a:gd name="connsiteY6" fmla="*/ 1147033 h 6093240"/>
              <a:gd name="connsiteX7" fmla="*/ 2693267 w 6983126"/>
              <a:gd name="connsiteY7" fmla="*/ 890946 h 6093240"/>
              <a:gd name="connsiteX8" fmla="*/ 2758520 w 6983126"/>
              <a:gd name="connsiteY8" fmla="*/ 44668 h 6093240"/>
              <a:gd name="connsiteX9" fmla="*/ 4737581 w 6983126"/>
              <a:gd name="connsiteY9" fmla="*/ 181833 h 6093240"/>
              <a:gd name="connsiteX10" fmla="*/ 5304848 w 6983126"/>
              <a:gd name="connsiteY10" fmla="*/ 588232 h 6093240"/>
              <a:gd name="connsiteX11" fmla="*/ 5614266 w 6983126"/>
              <a:gd name="connsiteY11" fmla="*/ 890946 h 6093240"/>
              <a:gd name="connsiteX12" fmla="*/ 5685848 w 6983126"/>
              <a:gd name="connsiteY12" fmla="*/ 1307900 h 6093240"/>
              <a:gd name="connsiteX13" fmla="*/ 6811915 w 6983126"/>
              <a:gd name="connsiteY13" fmla="*/ 1646566 h 6093240"/>
              <a:gd name="connsiteX14" fmla="*/ 6974920 w 6983126"/>
              <a:gd name="connsiteY14" fmla="*/ 2203669 h 6093240"/>
              <a:gd name="connsiteX15" fmla="*/ 6879647 w 6983126"/>
              <a:gd name="connsiteY15" fmla="*/ 3348366 h 6093240"/>
              <a:gd name="connsiteX16" fmla="*/ 6401667 w 6983126"/>
              <a:gd name="connsiteY16" fmla="*/ 3972814 h 6093240"/>
              <a:gd name="connsiteX17" fmla="*/ 5423380 w 6983126"/>
              <a:gd name="connsiteY17" fmla="*/ 4432099 h 6093240"/>
              <a:gd name="connsiteX18" fmla="*/ 4869200 w 6983126"/>
              <a:gd name="connsiteY18" fmla="*/ 5446013 h 6093240"/>
              <a:gd name="connsiteX19" fmla="*/ 4113187 w 6983126"/>
              <a:gd name="connsiteY19" fmla="*/ 5564935 h 6093240"/>
              <a:gd name="connsiteX20" fmla="*/ 3530755 w 6983126"/>
              <a:gd name="connsiteY20" fmla="*/ 5319795 h 6093240"/>
              <a:gd name="connsiteX21" fmla="*/ 2617067 w 6983126"/>
              <a:gd name="connsiteY21" fmla="*/ 5759281 h 6093240"/>
              <a:gd name="connsiteX22" fmla="*/ 1950746 w 6983126"/>
              <a:gd name="connsiteY22" fmla="*/ 6011458 h 6093240"/>
              <a:gd name="connsiteX23" fmla="*/ 1008401 w 6983126"/>
              <a:gd name="connsiteY23" fmla="*/ 6072549 h 6093240"/>
              <a:gd name="connsiteX24" fmla="*/ 212534 w 6983126"/>
              <a:gd name="connsiteY24" fmla="*/ 5725416 h 6093240"/>
              <a:gd name="connsiteX25" fmla="*/ 49186 w 6983126"/>
              <a:gd name="connsiteY25" fmla="*/ 4184868 h 6093240"/>
              <a:gd name="connsiteX0" fmla="*/ 49186 w 6983126"/>
              <a:gd name="connsiteY0" fmla="*/ 4184868 h 6093240"/>
              <a:gd name="connsiteX1" fmla="*/ 588915 w 6983126"/>
              <a:gd name="connsiteY1" fmla="*/ 2586365 h 6093240"/>
              <a:gd name="connsiteX2" fmla="*/ 820830 w 6983126"/>
              <a:gd name="connsiteY2" fmla="*/ 2308788 h 6093240"/>
              <a:gd name="connsiteX3" fmla="*/ 1105382 w 6983126"/>
              <a:gd name="connsiteY3" fmla="*/ 2137631 h 6093240"/>
              <a:gd name="connsiteX4" fmla="*/ 2375382 w 6983126"/>
              <a:gd name="connsiteY4" fmla="*/ 1782032 h 6093240"/>
              <a:gd name="connsiteX5" fmla="*/ 2714048 w 6983126"/>
              <a:gd name="connsiteY5" fmla="*/ 1485699 h 6093240"/>
              <a:gd name="connsiteX6" fmla="*/ 2747913 w 6983126"/>
              <a:gd name="connsiteY6" fmla="*/ 1147033 h 6093240"/>
              <a:gd name="connsiteX7" fmla="*/ 2693267 w 6983126"/>
              <a:gd name="connsiteY7" fmla="*/ 890946 h 6093240"/>
              <a:gd name="connsiteX8" fmla="*/ 2758520 w 6983126"/>
              <a:gd name="connsiteY8" fmla="*/ 44668 h 6093240"/>
              <a:gd name="connsiteX9" fmla="*/ 4737581 w 6983126"/>
              <a:gd name="connsiteY9" fmla="*/ 181833 h 6093240"/>
              <a:gd name="connsiteX10" fmla="*/ 5304848 w 6983126"/>
              <a:gd name="connsiteY10" fmla="*/ 588232 h 6093240"/>
              <a:gd name="connsiteX11" fmla="*/ 5614266 w 6983126"/>
              <a:gd name="connsiteY11" fmla="*/ 890946 h 6093240"/>
              <a:gd name="connsiteX12" fmla="*/ 5685848 w 6983126"/>
              <a:gd name="connsiteY12" fmla="*/ 1307900 h 6093240"/>
              <a:gd name="connsiteX13" fmla="*/ 6811915 w 6983126"/>
              <a:gd name="connsiteY13" fmla="*/ 1646566 h 6093240"/>
              <a:gd name="connsiteX14" fmla="*/ 6974920 w 6983126"/>
              <a:gd name="connsiteY14" fmla="*/ 2203669 h 6093240"/>
              <a:gd name="connsiteX15" fmla="*/ 6879647 w 6983126"/>
              <a:gd name="connsiteY15" fmla="*/ 3348366 h 6093240"/>
              <a:gd name="connsiteX16" fmla="*/ 6401667 w 6983126"/>
              <a:gd name="connsiteY16" fmla="*/ 3972814 h 6093240"/>
              <a:gd name="connsiteX17" fmla="*/ 5423380 w 6983126"/>
              <a:gd name="connsiteY17" fmla="*/ 4432099 h 6093240"/>
              <a:gd name="connsiteX18" fmla="*/ 4869200 w 6983126"/>
              <a:gd name="connsiteY18" fmla="*/ 5446013 h 6093240"/>
              <a:gd name="connsiteX19" fmla="*/ 4113187 w 6983126"/>
              <a:gd name="connsiteY19" fmla="*/ 5564935 h 6093240"/>
              <a:gd name="connsiteX20" fmla="*/ 3530755 w 6983126"/>
              <a:gd name="connsiteY20" fmla="*/ 5319795 h 6093240"/>
              <a:gd name="connsiteX21" fmla="*/ 2939451 w 6983126"/>
              <a:gd name="connsiteY21" fmla="*/ 5612742 h 6093240"/>
              <a:gd name="connsiteX22" fmla="*/ 1950746 w 6983126"/>
              <a:gd name="connsiteY22" fmla="*/ 6011458 h 6093240"/>
              <a:gd name="connsiteX23" fmla="*/ 1008401 w 6983126"/>
              <a:gd name="connsiteY23" fmla="*/ 6072549 h 6093240"/>
              <a:gd name="connsiteX24" fmla="*/ 212534 w 6983126"/>
              <a:gd name="connsiteY24" fmla="*/ 5725416 h 6093240"/>
              <a:gd name="connsiteX25" fmla="*/ 49186 w 6983126"/>
              <a:gd name="connsiteY25" fmla="*/ 4184868 h 6093240"/>
              <a:gd name="connsiteX0" fmla="*/ 49186 w 6983126"/>
              <a:gd name="connsiteY0" fmla="*/ 4184868 h 6093240"/>
              <a:gd name="connsiteX1" fmla="*/ 588915 w 6983126"/>
              <a:gd name="connsiteY1" fmla="*/ 2586365 h 6093240"/>
              <a:gd name="connsiteX2" fmla="*/ 820830 w 6983126"/>
              <a:gd name="connsiteY2" fmla="*/ 2308788 h 6093240"/>
              <a:gd name="connsiteX3" fmla="*/ 1105382 w 6983126"/>
              <a:gd name="connsiteY3" fmla="*/ 2137631 h 6093240"/>
              <a:gd name="connsiteX4" fmla="*/ 2375382 w 6983126"/>
              <a:gd name="connsiteY4" fmla="*/ 1782032 h 6093240"/>
              <a:gd name="connsiteX5" fmla="*/ 2714048 w 6983126"/>
              <a:gd name="connsiteY5" fmla="*/ 1485699 h 6093240"/>
              <a:gd name="connsiteX6" fmla="*/ 2747913 w 6983126"/>
              <a:gd name="connsiteY6" fmla="*/ 1147033 h 6093240"/>
              <a:gd name="connsiteX7" fmla="*/ 2693267 w 6983126"/>
              <a:gd name="connsiteY7" fmla="*/ 890946 h 6093240"/>
              <a:gd name="connsiteX8" fmla="*/ 2758520 w 6983126"/>
              <a:gd name="connsiteY8" fmla="*/ 44668 h 6093240"/>
              <a:gd name="connsiteX9" fmla="*/ 4737581 w 6983126"/>
              <a:gd name="connsiteY9" fmla="*/ 181833 h 6093240"/>
              <a:gd name="connsiteX10" fmla="*/ 5304848 w 6983126"/>
              <a:gd name="connsiteY10" fmla="*/ 588232 h 6093240"/>
              <a:gd name="connsiteX11" fmla="*/ 5614266 w 6983126"/>
              <a:gd name="connsiteY11" fmla="*/ 890946 h 6093240"/>
              <a:gd name="connsiteX12" fmla="*/ 5685848 w 6983126"/>
              <a:gd name="connsiteY12" fmla="*/ 1307900 h 6093240"/>
              <a:gd name="connsiteX13" fmla="*/ 6811915 w 6983126"/>
              <a:gd name="connsiteY13" fmla="*/ 1646566 h 6093240"/>
              <a:gd name="connsiteX14" fmla="*/ 6974920 w 6983126"/>
              <a:gd name="connsiteY14" fmla="*/ 2203669 h 6093240"/>
              <a:gd name="connsiteX15" fmla="*/ 6879647 w 6983126"/>
              <a:gd name="connsiteY15" fmla="*/ 3348366 h 6093240"/>
              <a:gd name="connsiteX16" fmla="*/ 6401667 w 6983126"/>
              <a:gd name="connsiteY16" fmla="*/ 3972814 h 6093240"/>
              <a:gd name="connsiteX17" fmla="*/ 5423380 w 6983126"/>
              <a:gd name="connsiteY17" fmla="*/ 4432099 h 6093240"/>
              <a:gd name="connsiteX18" fmla="*/ 4869200 w 6983126"/>
              <a:gd name="connsiteY18" fmla="*/ 5446013 h 6093240"/>
              <a:gd name="connsiteX19" fmla="*/ 4060434 w 6983126"/>
              <a:gd name="connsiteY19" fmla="*/ 5594242 h 6093240"/>
              <a:gd name="connsiteX20" fmla="*/ 3530755 w 6983126"/>
              <a:gd name="connsiteY20" fmla="*/ 5319795 h 6093240"/>
              <a:gd name="connsiteX21" fmla="*/ 2939451 w 6983126"/>
              <a:gd name="connsiteY21" fmla="*/ 5612742 h 6093240"/>
              <a:gd name="connsiteX22" fmla="*/ 1950746 w 6983126"/>
              <a:gd name="connsiteY22" fmla="*/ 6011458 h 6093240"/>
              <a:gd name="connsiteX23" fmla="*/ 1008401 w 6983126"/>
              <a:gd name="connsiteY23" fmla="*/ 6072549 h 6093240"/>
              <a:gd name="connsiteX24" fmla="*/ 212534 w 6983126"/>
              <a:gd name="connsiteY24" fmla="*/ 5725416 h 6093240"/>
              <a:gd name="connsiteX25" fmla="*/ 49186 w 6983126"/>
              <a:gd name="connsiteY25" fmla="*/ 4184868 h 6093240"/>
              <a:gd name="connsiteX0" fmla="*/ 49186 w 6983126"/>
              <a:gd name="connsiteY0" fmla="*/ 4184868 h 6093240"/>
              <a:gd name="connsiteX1" fmla="*/ 588915 w 6983126"/>
              <a:gd name="connsiteY1" fmla="*/ 2586365 h 6093240"/>
              <a:gd name="connsiteX2" fmla="*/ 820830 w 6983126"/>
              <a:gd name="connsiteY2" fmla="*/ 2308788 h 6093240"/>
              <a:gd name="connsiteX3" fmla="*/ 1105382 w 6983126"/>
              <a:gd name="connsiteY3" fmla="*/ 2137631 h 6093240"/>
              <a:gd name="connsiteX4" fmla="*/ 2375382 w 6983126"/>
              <a:gd name="connsiteY4" fmla="*/ 1782032 h 6093240"/>
              <a:gd name="connsiteX5" fmla="*/ 2714048 w 6983126"/>
              <a:gd name="connsiteY5" fmla="*/ 1485699 h 6093240"/>
              <a:gd name="connsiteX6" fmla="*/ 2747913 w 6983126"/>
              <a:gd name="connsiteY6" fmla="*/ 1147033 h 6093240"/>
              <a:gd name="connsiteX7" fmla="*/ 2693267 w 6983126"/>
              <a:gd name="connsiteY7" fmla="*/ 890946 h 6093240"/>
              <a:gd name="connsiteX8" fmla="*/ 2758520 w 6983126"/>
              <a:gd name="connsiteY8" fmla="*/ 44668 h 6093240"/>
              <a:gd name="connsiteX9" fmla="*/ 4737581 w 6983126"/>
              <a:gd name="connsiteY9" fmla="*/ 181833 h 6093240"/>
              <a:gd name="connsiteX10" fmla="*/ 5304848 w 6983126"/>
              <a:gd name="connsiteY10" fmla="*/ 588232 h 6093240"/>
              <a:gd name="connsiteX11" fmla="*/ 5614266 w 6983126"/>
              <a:gd name="connsiteY11" fmla="*/ 890946 h 6093240"/>
              <a:gd name="connsiteX12" fmla="*/ 5685848 w 6983126"/>
              <a:gd name="connsiteY12" fmla="*/ 1307900 h 6093240"/>
              <a:gd name="connsiteX13" fmla="*/ 6811915 w 6983126"/>
              <a:gd name="connsiteY13" fmla="*/ 1646566 h 6093240"/>
              <a:gd name="connsiteX14" fmla="*/ 6974920 w 6983126"/>
              <a:gd name="connsiteY14" fmla="*/ 2203669 h 6093240"/>
              <a:gd name="connsiteX15" fmla="*/ 6879647 w 6983126"/>
              <a:gd name="connsiteY15" fmla="*/ 3348366 h 6093240"/>
              <a:gd name="connsiteX16" fmla="*/ 6401667 w 6983126"/>
              <a:gd name="connsiteY16" fmla="*/ 3972814 h 6093240"/>
              <a:gd name="connsiteX17" fmla="*/ 5423380 w 6983126"/>
              <a:gd name="connsiteY17" fmla="*/ 4432099 h 6093240"/>
              <a:gd name="connsiteX18" fmla="*/ 4869200 w 6983126"/>
              <a:gd name="connsiteY18" fmla="*/ 5446013 h 6093240"/>
              <a:gd name="connsiteX19" fmla="*/ 4484292 w 6983126"/>
              <a:gd name="connsiteY19" fmla="*/ 5597111 h 6093240"/>
              <a:gd name="connsiteX20" fmla="*/ 4060434 w 6983126"/>
              <a:gd name="connsiteY20" fmla="*/ 5594242 h 6093240"/>
              <a:gd name="connsiteX21" fmla="*/ 3530755 w 6983126"/>
              <a:gd name="connsiteY21" fmla="*/ 5319795 h 6093240"/>
              <a:gd name="connsiteX22" fmla="*/ 2939451 w 6983126"/>
              <a:gd name="connsiteY22" fmla="*/ 5612742 h 6093240"/>
              <a:gd name="connsiteX23" fmla="*/ 1950746 w 6983126"/>
              <a:gd name="connsiteY23" fmla="*/ 6011458 h 6093240"/>
              <a:gd name="connsiteX24" fmla="*/ 1008401 w 6983126"/>
              <a:gd name="connsiteY24" fmla="*/ 6072549 h 6093240"/>
              <a:gd name="connsiteX25" fmla="*/ 212534 w 6983126"/>
              <a:gd name="connsiteY25" fmla="*/ 5725416 h 6093240"/>
              <a:gd name="connsiteX26" fmla="*/ 49186 w 6983126"/>
              <a:gd name="connsiteY26" fmla="*/ 4184868 h 6093240"/>
              <a:gd name="connsiteX0" fmla="*/ 49186 w 6983126"/>
              <a:gd name="connsiteY0" fmla="*/ 4184868 h 6093240"/>
              <a:gd name="connsiteX1" fmla="*/ 588915 w 6983126"/>
              <a:gd name="connsiteY1" fmla="*/ 2586365 h 6093240"/>
              <a:gd name="connsiteX2" fmla="*/ 820830 w 6983126"/>
              <a:gd name="connsiteY2" fmla="*/ 2308788 h 6093240"/>
              <a:gd name="connsiteX3" fmla="*/ 1105382 w 6983126"/>
              <a:gd name="connsiteY3" fmla="*/ 2137631 h 6093240"/>
              <a:gd name="connsiteX4" fmla="*/ 2375382 w 6983126"/>
              <a:gd name="connsiteY4" fmla="*/ 1782032 h 6093240"/>
              <a:gd name="connsiteX5" fmla="*/ 2714048 w 6983126"/>
              <a:gd name="connsiteY5" fmla="*/ 1485699 h 6093240"/>
              <a:gd name="connsiteX6" fmla="*/ 2747913 w 6983126"/>
              <a:gd name="connsiteY6" fmla="*/ 1147033 h 6093240"/>
              <a:gd name="connsiteX7" fmla="*/ 2693267 w 6983126"/>
              <a:gd name="connsiteY7" fmla="*/ 890946 h 6093240"/>
              <a:gd name="connsiteX8" fmla="*/ 2758520 w 6983126"/>
              <a:gd name="connsiteY8" fmla="*/ 44668 h 6093240"/>
              <a:gd name="connsiteX9" fmla="*/ 4737581 w 6983126"/>
              <a:gd name="connsiteY9" fmla="*/ 181833 h 6093240"/>
              <a:gd name="connsiteX10" fmla="*/ 5304848 w 6983126"/>
              <a:gd name="connsiteY10" fmla="*/ 588232 h 6093240"/>
              <a:gd name="connsiteX11" fmla="*/ 5614266 w 6983126"/>
              <a:gd name="connsiteY11" fmla="*/ 890946 h 6093240"/>
              <a:gd name="connsiteX12" fmla="*/ 5685848 w 6983126"/>
              <a:gd name="connsiteY12" fmla="*/ 1307900 h 6093240"/>
              <a:gd name="connsiteX13" fmla="*/ 6811915 w 6983126"/>
              <a:gd name="connsiteY13" fmla="*/ 1646566 h 6093240"/>
              <a:gd name="connsiteX14" fmla="*/ 6974920 w 6983126"/>
              <a:gd name="connsiteY14" fmla="*/ 2203669 h 6093240"/>
              <a:gd name="connsiteX15" fmla="*/ 6879647 w 6983126"/>
              <a:gd name="connsiteY15" fmla="*/ 3348366 h 6093240"/>
              <a:gd name="connsiteX16" fmla="*/ 6401667 w 6983126"/>
              <a:gd name="connsiteY16" fmla="*/ 3972814 h 6093240"/>
              <a:gd name="connsiteX17" fmla="*/ 5423380 w 6983126"/>
              <a:gd name="connsiteY17" fmla="*/ 4432099 h 6093240"/>
              <a:gd name="connsiteX18" fmla="*/ 4869200 w 6983126"/>
              <a:gd name="connsiteY18" fmla="*/ 5446013 h 6093240"/>
              <a:gd name="connsiteX19" fmla="*/ 4472569 w 6983126"/>
              <a:gd name="connsiteY19" fmla="*/ 5632280 h 6093240"/>
              <a:gd name="connsiteX20" fmla="*/ 4060434 w 6983126"/>
              <a:gd name="connsiteY20" fmla="*/ 5594242 h 6093240"/>
              <a:gd name="connsiteX21" fmla="*/ 3530755 w 6983126"/>
              <a:gd name="connsiteY21" fmla="*/ 5319795 h 6093240"/>
              <a:gd name="connsiteX22" fmla="*/ 2939451 w 6983126"/>
              <a:gd name="connsiteY22" fmla="*/ 5612742 h 6093240"/>
              <a:gd name="connsiteX23" fmla="*/ 1950746 w 6983126"/>
              <a:gd name="connsiteY23" fmla="*/ 6011458 h 6093240"/>
              <a:gd name="connsiteX24" fmla="*/ 1008401 w 6983126"/>
              <a:gd name="connsiteY24" fmla="*/ 6072549 h 6093240"/>
              <a:gd name="connsiteX25" fmla="*/ 212534 w 6983126"/>
              <a:gd name="connsiteY25" fmla="*/ 5725416 h 6093240"/>
              <a:gd name="connsiteX26" fmla="*/ 49186 w 6983126"/>
              <a:gd name="connsiteY26" fmla="*/ 4184868 h 6093240"/>
              <a:gd name="connsiteX0" fmla="*/ 49186 w 6983126"/>
              <a:gd name="connsiteY0" fmla="*/ 4184868 h 6093240"/>
              <a:gd name="connsiteX1" fmla="*/ 588915 w 6983126"/>
              <a:gd name="connsiteY1" fmla="*/ 2586365 h 6093240"/>
              <a:gd name="connsiteX2" fmla="*/ 820830 w 6983126"/>
              <a:gd name="connsiteY2" fmla="*/ 2308788 h 6093240"/>
              <a:gd name="connsiteX3" fmla="*/ 1105382 w 6983126"/>
              <a:gd name="connsiteY3" fmla="*/ 2137631 h 6093240"/>
              <a:gd name="connsiteX4" fmla="*/ 2375382 w 6983126"/>
              <a:gd name="connsiteY4" fmla="*/ 1782032 h 6093240"/>
              <a:gd name="connsiteX5" fmla="*/ 2714048 w 6983126"/>
              <a:gd name="connsiteY5" fmla="*/ 1485699 h 6093240"/>
              <a:gd name="connsiteX6" fmla="*/ 2747913 w 6983126"/>
              <a:gd name="connsiteY6" fmla="*/ 1147033 h 6093240"/>
              <a:gd name="connsiteX7" fmla="*/ 2693267 w 6983126"/>
              <a:gd name="connsiteY7" fmla="*/ 890946 h 6093240"/>
              <a:gd name="connsiteX8" fmla="*/ 2758520 w 6983126"/>
              <a:gd name="connsiteY8" fmla="*/ 44668 h 6093240"/>
              <a:gd name="connsiteX9" fmla="*/ 4737581 w 6983126"/>
              <a:gd name="connsiteY9" fmla="*/ 181833 h 6093240"/>
              <a:gd name="connsiteX10" fmla="*/ 5304848 w 6983126"/>
              <a:gd name="connsiteY10" fmla="*/ 588232 h 6093240"/>
              <a:gd name="connsiteX11" fmla="*/ 5614266 w 6983126"/>
              <a:gd name="connsiteY11" fmla="*/ 890946 h 6093240"/>
              <a:gd name="connsiteX12" fmla="*/ 5685848 w 6983126"/>
              <a:gd name="connsiteY12" fmla="*/ 1307900 h 6093240"/>
              <a:gd name="connsiteX13" fmla="*/ 6811915 w 6983126"/>
              <a:gd name="connsiteY13" fmla="*/ 1646566 h 6093240"/>
              <a:gd name="connsiteX14" fmla="*/ 6974920 w 6983126"/>
              <a:gd name="connsiteY14" fmla="*/ 2203669 h 6093240"/>
              <a:gd name="connsiteX15" fmla="*/ 6879647 w 6983126"/>
              <a:gd name="connsiteY15" fmla="*/ 3348366 h 6093240"/>
              <a:gd name="connsiteX16" fmla="*/ 6401667 w 6983126"/>
              <a:gd name="connsiteY16" fmla="*/ 3972814 h 6093240"/>
              <a:gd name="connsiteX17" fmla="*/ 5423380 w 6983126"/>
              <a:gd name="connsiteY17" fmla="*/ 4432099 h 6093240"/>
              <a:gd name="connsiteX18" fmla="*/ 5056769 w 6983126"/>
              <a:gd name="connsiteY18" fmla="*/ 5264306 h 6093240"/>
              <a:gd name="connsiteX19" fmla="*/ 4472569 w 6983126"/>
              <a:gd name="connsiteY19" fmla="*/ 5632280 h 6093240"/>
              <a:gd name="connsiteX20" fmla="*/ 4060434 w 6983126"/>
              <a:gd name="connsiteY20" fmla="*/ 5594242 h 6093240"/>
              <a:gd name="connsiteX21" fmla="*/ 3530755 w 6983126"/>
              <a:gd name="connsiteY21" fmla="*/ 5319795 h 6093240"/>
              <a:gd name="connsiteX22" fmla="*/ 2939451 w 6983126"/>
              <a:gd name="connsiteY22" fmla="*/ 5612742 h 6093240"/>
              <a:gd name="connsiteX23" fmla="*/ 1950746 w 6983126"/>
              <a:gd name="connsiteY23" fmla="*/ 6011458 h 6093240"/>
              <a:gd name="connsiteX24" fmla="*/ 1008401 w 6983126"/>
              <a:gd name="connsiteY24" fmla="*/ 6072549 h 6093240"/>
              <a:gd name="connsiteX25" fmla="*/ 212534 w 6983126"/>
              <a:gd name="connsiteY25" fmla="*/ 5725416 h 6093240"/>
              <a:gd name="connsiteX26" fmla="*/ 49186 w 6983126"/>
              <a:gd name="connsiteY26" fmla="*/ 4184868 h 6093240"/>
              <a:gd name="connsiteX0" fmla="*/ 49186 w 6983126"/>
              <a:gd name="connsiteY0" fmla="*/ 4184868 h 6093240"/>
              <a:gd name="connsiteX1" fmla="*/ 588915 w 6983126"/>
              <a:gd name="connsiteY1" fmla="*/ 2586365 h 6093240"/>
              <a:gd name="connsiteX2" fmla="*/ 820830 w 6983126"/>
              <a:gd name="connsiteY2" fmla="*/ 2308788 h 6093240"/>
              <a:gd name="connsiteX3" fmla="*/ 1105382 w 6983126"/>
              <a:gd name="connsiteY3" fmla="*/ 2137631 h 6093240"/>
              <a:gd name="connsiteX4" fmla="*/ 2375382 w 6983126"/>
              <a:gd name="connsiteY4" fmla="*/ 1782032 h 6093240"/>
              <a:gd name="connsiteX5" fmla="*/ 2714048 w 6983126"/>
              <a:gd name="connsiteY5" fmla="*/ 1485699 h 6093240"/>
              <a:gd name="connsiteX6" fmla="*/ 2747913 w 6983126"/>
              <a:gd name="connsiteY6" fmla="*/ 1147033 h 6093240"/>
              <a:gd name="connsiteX7" fmla="*/ 2693267 w 6983126"/>
              <a:gd name="connsiteY7" fmla="*/ 890946 h 6093240"/>
              <a:gd name="connsiteX8" fmla="*/ 2758520 w 6983126"/>
              <a:gd name="connsiteY8" fmla="*/ 44668 h 6093240"/>
              <a:gd name="connsiteX9" fmla="*/ 4737581 w 6983126"/>
              <a:gd name="connsiteY9" fmla="*/ 181833 h 6093240"/>
              <a:gd name="connsiteX10" fmla="*/ 5304848 w 6983126"/>
              <a:gd name="connsiteY10" fmla="*/ 588232 h 6093240"/>
              <a:gd name="connsiteX11" fmla="*/ 5614266 w 6983126"/>
              <a:gd name="connsiteY11" fmla="*/ 890946 h 6093240"/>
              <a:gd name="connsiteX12" fmla="*/ 5685848 w 6983126"/>
              <a:gd name="connsiteY12" fmla="*/ 1307900 h 6093240"/>
              <a:gd name="connsiteX13" fmla="*/ 6811915 w 6983126"/>
              <a:gd name="connsiteY13" fmla="*/ 1646566 h 6093240"/>
              <a:gd name="connsiteX14" fmla="*/ 6974920 w 6983126"/>
              <a:gd name="connsiteY14" fmla="*/ 2203669 h 6093240"/>
              <a:gd name="connsiteX15" fmla="*/ 6879647 w 6983126"/>
              <a:gd name="connsiteY15" fmla="*/ 3348366 h 6093240"/>
              <a:gd name="connsiteX16" fmla="*/ 6401667 w 6983126"/>
              <a:gd name="connsiteY16" fmla="*/ 3972814 h 6093240"/>
              <a:gd name="connsiteX17" fmla="*/ 5423380 w 6983126"/>
              <a:gd name="connsiteY17" fmla="*/ 4432099 h 6093240"/>
              <a:gd name="connsiteX18" fmla="*/ 5056769 w 6983126"/>
              <a:gd name="connsiteY18" fmla="*/ 5264306 h 6093240"/>
              <a:gd name="connsiteX19" fmla="*/ 4472569 w 6983126"/>
              <a:gd name="connsiteY19" fmla="*/ 5632280 h 6093240"/>
              <a:gd name="connsiteX20" fmla="*/ 4060434 w 6983126"/>
              <a:gd name="connsiteY20" fmla="*/ 5594242 h 6093240"/>
              <a:gd name="connsiteX21" fmla="*/ 3530755 w 6983126"/>
              <a:gd name="connsiteY21" fmla="*/ 5319795 h 6093240"/>
              <a:gd name="connsiteX22" fmla="*/ 2939451 w 6983126"/>
              <a:gd name="connsiteY22" fmla="*/ 5612742 h 6093240"/>
              <a:gd name="connsiteX23" fmla="*/ 1950746 w 6983126"/>
              <a:gd name="connsiteY23" fmla="*/ 6011458 h 6093240"/>
              <a:gd name="connsiteX24" fmla="*/ 1008401 w 6983126"/>
              <a:gd name="connsiteY24" fmla="*/ 6072549 h 6093240"/>
              <a:gd name="connsiteX25" fmla="*/ 212534 w 6983126"/>
              <a:gd name="connsiteY25" fmla="*/ 5725416 h 6093240"/>
              <a:gd name="connsiteX26" fmla="*/ 49186 w 6983126"/>
              <a:gd name="connsiteY26" fmla="*/ 4184868 h 6093240"/>
              <a:gd name="connsiteX0" fmla="*/ 49186 w 6983126"/>
              <a:gd name="connsiteY0" fmla="*/ 4184868 h 6093240"/>
              <a:gd name="connsiteX1" fmla="*/ 588915 w 6983126"/>
              <a:gd name="connsiteY1" fmla="*/ 2586365 h 6093240"/>
              <a:gd name="connsiteX2" fmla="*/ 820830 w 6983126"/>
              <a:gd name="connsiteY2" fmla="*/ 2308788 h 6093240"/>
              <a:gd name="connsiteX3" fmla="*/ 1105382 w 6983126"/>
              <a:gd name="connsiteY3" fmla="*/ 2137631 h 6093240"/>
              <a:gd name="connsiteX4" fmla="*/ 2375382 w 6983126"/>
              <a:gd name="connsiteY4" fmla="*/ 1782032 h 6093240"/>
              <a:gd name="connsiteX5" fmla="*/ 2714048 w 6983126"/>
              <a:gd name="connsiteY5" fmla="*/ 1485699 h 6093240"/>
              <a:gd name="connsiteX6" fmla="*/ 2747913 w 6983126"/>
              <a:gd name="connsiteY6" fmla="*/ 1147033 h 6093240"/>
              <a:gd name="connsiteX7" fmla="*/ 2693267 w 6983126"/>
              <a:gd name="connsiteY7" fmla="*/ 890946 h 6093240"/>
              <a:gd name="connsiteX8" fmla="*/ 2758520 w 6983126"/>
              <a:gd name="connsiteY8" fmla="*/ 44668 h 6093240"/>
              <a:gd name="connsiteX9" fmla="*/ 4737581 w 6983126"/>
              <a:gd name="connsiteY9" fmla="*/ 181833 h 6093240"/>
              <a:gd name="connsiteX10" fmla="*/ 5304848 w 6983126"/>
              <a:gd name="connsiteY10" fmla="*/ 588232 h 6093240"/>
              <a:gd name="connsiteX11" fmla="*/ 5614266 w 6983126"/>
              <a:gd name="connsiteY11" fmla="*/ 890946 h 6093240"/>
              <a:gd name="connsiteX12" fmla="*/ 5685848 w 6983126"/>
              <a:gd name="connsiteY12" fmla="*/ 1307900 h 6093240"/>
              <a:gd name="connsiteX13" fmla="*/ 6811915 w 6983126"/>
              <a:gd name="connsiteY13" fmla="*/ 1646566 h 6093240"/>
              <a:gd name="connsiteX14" fmla="*/ 6974920 w 6983126"/>
              <a:gd name="connsiteY14" fmla="*/ 2203669 h 6093240"/>
              <a:gd name="connsiteX15" fmla="*/ 6879647 w 6983126"/>
              <a:gd name="connsiteY15" fmla="*/ 3348366 h 6093240"/>
              <a:gd name="connsiteX16" fmla="*/ 6401667 w 6983126"/>
              <a:gd name="connsiteY16" fmla="*/ 3972814 h 6093240"/>
              <a:gd name="connsiteX17" fmla="*/ 5423380 w 6983126"/>
              <a:gd name="connsiteY17" fmla="*/ 4432099 h 6093240"/>
              <a:gd name="connsiteX18" fmla="*/ 5056769 w 6983126"/>
              <a:gd name="connsiteY18" fmla="*/ 5264306 h 6093240"/>
              <a:gd name="connsiteX19" fmla="*/ 4472569 w 6983126"/>
              <a:gd name="connsiteY19" fmla="*/ 5632280 h 6093240"/>
              <a:gd name="connsiteX20" fmla="*/ 4060434 w 6983126"/>
              <a:gd name="connsiteY20" fmla="*/ 5594242 h 6093240"/>
              <a:gd name="connsiteX21" fmla="*/ 3530755 w 6983126"/>
              <a:gd name="connsiteY21" fmla="*/ 5319795 h 6093240"/>
              <a:gd name="connsiteX22" fmla="*/ 2939451 w 6983126"/>
              <a:gd name="connsiteY22" fmla="*/ 5612742 h 6093240"/>
              <a:gd name="connsiteX23" fmla="*/ 1950746 w 6983126"/>
              <a:gd name="connsiteY23" fmla="*/ 6011458 h 6093240"/>
              <a:gd name="connsiteX24" fmla="*/ 1008401 w 6983126"/>
              <a:gd name="connsiteY24" fmla="*/ 6072549 h 6093240"/>
              <a:gd name="connsiteX25" fmla="*/ 212534 w 6983126"/>
              <a:gd name="connsiteY25" fmla="*/ 5725416 h 6093240"/>
              <a:gd name="connsiteX26" fmla="*/ 49186 w 6983126"/>
              <a:gd name="connsiteY26" fmla="*/ 4184868 h 6093240"/>
              <a:gd name="connsiteX0" fmla="*/ 49186 w 6983126"/>
              <a:gd name="connsiteY0" fmla="*/ 4184868 h 6093240"/>
              <a:gd name="connsiteX1" fmla="*/ 588915 w 6983126"/>
              <a:gd name="connsiteY1" fmla="*/ 2586365 h 6093240"/>
              <a:gd name="connsiteX2" fmla="*/ 820830 w 6983126"/>
              <a:gd name="connsiteY2" fmla="*/ 2308788 h 6093240"/>
              <a:gd name="connsiteX3" fmla="*/ 1105382 w 6983126"/>
              <a:gd name="connsiteY3" fmla="*/ 2137631 h 6093240"/>
              <a:gd name="connsiteX4" fmla="*/ 2375382 w 6983126"/>
              <a:gd name="connsiteY4" fmla="*/ 1782032 h 6093240"/>
              <a:gd name="connsiteX5" fmla="*/ 2714048 w 6983126"/>
              <a:gd name="connsiteY5" fmla="*/ 1485699 h 6093240"/>
              <a:gd name="connsiteX6" fmla="*/ 2747913 w 6983126"/>
              <a:gd name="connsiteY6" fmla="*/ 1147033 h 6093240"/>
              <a:gd name="connsiteX7" fmla="*/ 2693267 w 6983126"/>
              <a:gd name="connsiteY7" fmla="*/ 890946 h 6093240"/>
              <a:gd name="connsiteX8" fmla="*/ 2758520 w 6983126"/>
              <a:gd name="connsiteY8" fmla="*/ 44668 h 6093240"/>
              <a:gd name="connsiteX9" fmla="*/ 4737581 w 6983126"/>
              <a:gd name="connsiteY9" fmla="*/ 181833 h 6093240"/>
              <a:gd name="connsiteX10" fmla="*/ 5304848 w 6983126"/>
              <a:gd name="connsiteY10" fmla="*/ 588232 h 6093240"/>
              <a:gd name="connsiteX11" fmla="*/ 5614266 w 6983126"/>
              <a:gd name="connsiteY11" fmla="*/ 890946 h 6093240"/>
              <a:gd name="connsiteX12" fmla="*/ 5685848 w 6983126"/>
              <a:gd name="connsiteY12" fmla="*/ 1307900 h 6093240"/>
              <a:gd name="connsiteX13" fmla="*/ 6811915 w 6983126"/>
              <a:gd name="connsiteY13" fmla="*/ 1646566 h 6093240"/>
              <a:gd name="connsiteX14" fmla="*/ 6974920 w 6983126"/>
              <a:gd name="connsiteY14" fmla="*/ 2203669 h 6093240"/>
              <a:gd name="connsiteX15" fmla="*/ 6879647 w 6983126"/>
              <a:gd name="connsiteY15" fmla="*/ 3348366 h 6093240"/>
              <a:gd name="connsiteX16" fmla="*/ 6401667 w 6983126"/>
              <a:gd name="connsiteY16" fmla="*/ 3972814 h 6093240"/>
              <a:gd name="connsiteX17" fmla="*/ 5464410 w 6983126"/>
              <a:gd name="connsiteY17" fmla="*/ 4402791 h 6093240"/>
              <a:gd name="connsiteX18" fmla="*/ 5056769 w 6983126"/>
              <a:gd name="connsiteY18" fmla="*/ 5264306 h 6093240"/>
              <a:gd name="connsiteX19" fmla="*/ 4472569 w 6983126"/>
              <a:gd name="connsiteY19" fmla="*/ 5632280 h 6093240"/>
              <a:gd name="connsiteX20" fmla="*/ 4060434 w 6983126"/>
              <a:gd name="connsiteY20" fmla="*/ 5594242 h 6093240"/>
              <a:gd name="connsiteX21" fmla="*/ 3530755 w 6983126"/>
              <a:gd name="connsiteY21" fmla="*/ 5319795 h 6093240"/>
              <a:gd name="connsiteX22" fmla="*/ 2939451 w 6983126"/>
              <a:gd name="connsiteY22" fmla="*/ 5612742 h 6093240"/>
              <a:gd name="connsiteX23" fmla="*/ 1950746 w 6983126"/>
              <a:gd name="connsiteY23" fmla="*/ 6011458 h 6093240"/>
              <a:gd name="connsiteX24" fmla="*/ 1008401 w 6983126"/>
              <a:gd name="connsiteY24" fmla="*/ 6072549 h 6093240"/>
              <a:gd name="connsiteX25" fmla="*/ 212534 w 6983126"/>
              <a:gd name="connsiteY25" fmla="*/ 5725416 h 6093240"/>
              <a:gd name="connsiteX26" fmla="*/ 49186 w 6983126"/>
              <a:gd name="connsiteY26" fmla="*/ 4184868 h 6093240"/>
              <a:gd name="connsiteX0" fmla="*/ 49186 w 6983126"/>
              <a:gd name="connsiteY0" fmla="*/ 4184868 h 6093240"/>
              <a:gd name="connsiteX1" fmla="*/ 588915 w 6983126"/>
              <a:gd name="connsiteY1" fmla="*/ 2586365 h 6093240"/>
              <a:gd name="connsiteX2" fmla="*/ 820830 w 6983126"/>
              <a:gd name="connsiteY2" fmla="*/ 2308788 h 6093240"/>
              <a:gd name="connsiteX3" fmla="*/ 1105382 w 6983126"/>
              <a:gd name="connsiteY3" fmla="*/ 2137631 h 6093240"/>
              <a:gd name="connsiteX4" fmla="*/ 2375382 w 6983126"/>
              <a:gd name="connsiteY4" fmla="*/ 1782032 h 6093240"/>
              <a:gd name="connsiteX5" fmla="*/ 2714048 w 6983126"/>
              <a:gd name="connsiteY5" fmla="*/ 1485699 h 6093240"/>
              <a:gd name="connsiteX6" fmla="*/ 2747913 w 6983126"/>
              <a:gd name="connsiteY6" fmla="*/ 1147033 h 6093240"/>
              <a:gd name="connsiteX7" fmla="*/ 2693267 w 6983126"/>
              <a:gd name="connsiteY7" fmla="*/ 890946 h 6093240"/>
              <a:gd name="connsiteX8" fmla="*/ 2758520 w 6983126"/>
              <a:gd name="connsiteY8" fmla="*/ 44668 h 6093240"/>
              <a:gd name="connsiteX9" fmla="*/ 4737581 w 6983126"/>
              <a:gd name="connsiteY9" fmla="*/ 181833 h 6093240"/>
              <a:gd name="connsiteX10" fmla="*/ 5304848 w 6983126"/>
              <a:gd name="connsiteY10" fmla="*/ 588232 h 6093240"/>
              <a:gd name="connsiteX11" fmla="*/ 5614266 w 6983126"/>
              <a:gd name="connsiteY11" fmla="*/ 890946 h 6093240"/>
              <a:gd name="connsiteX12" fmla="*/ 5685848 w 6983126"/>
              <a:gd name="connsiteY12" fmla="*/ 1307900 h 6093240"/>
              <a:gd name="connsiteX13" fmla="*/ 6811915 w 6983126"/>
              <a:gd name="connsiteY13" fmla="*/ 1646566 h 6093240"/>
              <a:gd name="connsiteX14" fmla="*/ 6974920 w 6983126"/>
              <a:gd name="connsiteY14" fmla="*/ 2203669 h 6093240"/>
              <a:gd name="connsiteX15" fmla="*/ 6879647 w 6983126"/>
              <a:gd name="connsiteY15" fmla="*/ 3348366 h 6093240"/>
              <a:gd name="connsiteX16" fmla="*/ 6401667 w 6983126"/>
              <a:gd name="connsiteY16" fmla="*/ 3972814 h 6093240"/>
              <a:gd name="connsiteX17" fmla="*/ 5914508 w 6983126"/>
              <a:gd name="connsiteY17" fmla="*/ 4161034 h 6093240"/>
              <a:gd name="connsiteX18" fmla="*/ 5464410 w 6983126"/>
              <a:gd name="connsiteY18" fmla="*/ 4402791 h 6093240"/>
              <a:gd name="connsiteX19" fmla="*/ 5056769 w 6983126"/>
              <a:gd name="connsiteY19" fmla="*/ 5264306 h 6093240"/>
              <a:gd name="connsiteX20" fmla="*/ 4472569 w 6983126"/>
              <a:gd name="connsiteY20" fmla="*/ 5632280 h 6093240"/>
              <a:gd name="connsiteX21" fmla="*/ 4060434 w 6983126"/>
              <a:gd name="connsiteY21" fmla="*/ 5594242 h 6093240"/>
              <a:gd name="connsiteX22" fmla="*/ 3530755 w 6983126"/>
              <a:gd name="connsiteY22" fmla="*/ 5319795 h 6093240"/>
              <a:gd name="connsiteX23" fmla="*/ 2939451 w 6983126"/>
              <a:gd name="connsiteY23" fmla="*/ 5612742 h 6093240"/>
              <a:gd name="connsiteX24" fmla="*/ 1950746 w 6983126"/>
              <a:gd name="connsiteY24" fmla="*/ 6011458 h 6093240"/>
              <a:gd name="connsiteX25" fmla="*/ 1008401 w 6983126"/>
              <a:gd name="connsiteY25" fmla="*/ 6072549 h 6093240"/>
              <a:gd name="connsiteX26" fmla="*/ 212534 w 6983126"/>
              <a:gd name="connsiteY26" fmla="*/ 5725416 h 6093240"/>
              <a:gd name="connsiteX27" fmla="*/ 49186 w 6983126"/>
              <a:gd name="connsiteY27" fmla="*/ 4184868 h 6093240"/>
              <a:gd name="connsiteX0" fmla="*/ 49186 w 6983126"/>
              <a:gd name="connsiteY0" fmla="*/ 4184868 h 6093240"/>
              <a:gd name="connsiteX1" fmla="*/ 588915 w 6983126"/>
              <a:gd name="connsiteY1" fmla="*/ 2586365 h 6093240"/>
              <a:gd name="connsiteX2" fmla="*/ 820830 w 6983126"/>
              <a:gd name="connsiteY2" fmla="*/ 2308788 h 6093240"/>
              <a:gd name="connsiteX3" fmla="*/ 1105382 w 6983126"/>
              <a:gd name="connsiteY3" fmla="*/ 2137631 h 6093240"/>
              <a:gd name="connsiteX4" fmla="*/ 2375382 w 6983126"/>
              <a:gd name="connsiteY4" fmla="*/ 1782032 h 6093240"/>
              <a:gd name="connsiteX5" fmla="*/ 2714048 w 6983126"/>
              <a:gd name="connsiteY5" fmla="*/ 1485699 h 6093240"/>
              <a:gd name="connsiteX6" fmla="*/ 2747913 w 6983126"/>
              <a:gd name="connsiteY6" fmla="*/ 1147033 h 6093240"/>
              <a:gd name="connsiteX7" fmla="*/ 2693267 w 6983126"/>
              <a:gd name="connsiteY7" fmla="*/ 890946 h 6093240"/>
              <a:gd name="connsiteX8" fmla="*/ 2758520 w 6983126"/>
              <a:gd name="connsiteY8" fmla="*/ 44668 h 6093240"/>
              <a:gd name="connsiteX9" fmla="*/ 4737581 w 6983126"/>
              <a:gd name="connsiteY9" fmla="*/ 181833 h 6093240"/>
              <a:gd name="connsiteX10" fmla="*/ 5304848 w 6983126"/>
              <a:gd name="connsiteY10" fmla="*/ 588232 h 6093240"/>
              <a:gd name="connsiteX11" fmla="*/ 5614266 w 6983126"/>
              <a:gd name="connsiteY11" fmla="*/ 890946 h 6093240"/>
              <a:gd name="connsiteX12" fmla="*/ 5685848 w 6983126"/>
              <a:gd name="connsiteY12" fmla="*/ 1307900 h 6093240"/>
              <a:gd name="connsiteX13" fmla="*/ 6811915 w 6983126"/>
              <a:gd name="connsiteY13" fmla="*/ 1646566 h 6093240"/>
              <a:gd name="connsiteX14" fmla="*/ 6974920 w 6983126"/>
              <a:gd name="connsiteY14" fmla="*/ 2203669 h 6093240"/>
              <a:gd name="connsiteX15" fmla="*/ 6879647 w 6983126"/>
              <a:gd name="connsiteY15" fmla="*/ 3348366 h 6093240"/>
              <a:gd name="connsiteX16" fmla="*/ 6401667 w 6983126"/>
              <a:gd name="connsiteY16" fmla="*/ 3972814 h 6093240"/>
              <a:gd name="connsiteX17" fmla="*/ 5920369 w 6983126"/>
              <a:gd name="connsiteY17" fmla="*/ 4196204 h 6093240"/>
              <a:gd name="connsiteX18" fmla="*/ 5464410 w 6983126"/>
              <a:gd name="connsiteY18" fmla="*/ 4402791 h 6093240"/>
              <a:gd name="connsiteX19" fmla="*/ 5056769 w 6983126"/>
              <a:gd name="connsiteY19" fmla="*/ 5264306 h 6093240"/>
              <a:gd name="connsiteX20" fmla="*/ 4472569 w 6983126"/>
              <a:gd name="connsiteY20" fmla="*/ 5632280 h 6093240"/>
              <a:gd name="connsiteX21" fmla="*/ 4060434 w 6983126"/>
              <a:gd name="connsiteY21" fmla="*/ 5594242 h 6093240"/>
              <a:gd name="connsiteX22" fmla="*/ 3530755 w 6983126"/>
              <a:gd name="connsiteY22" fmla="*/ 5319795 h 6093240"/>
              <a:gd name="connsiteX23" fmla="*/ 2939451 w 6983126"/>
              <a:gd name="connsiteY23" fmla="*/ 5612742 h 6093240"/>
              <a:gd name="connsiteX24" fmla="*/ 1950746 w 6983126"/>
              <a:gd name="connsiteY24" fmla="*/ 6011458 h 6093240"/>
              <a:gd name="connsiteX25" fmla="*/ 1008401 w 6983126"/>
              <a:gd name="connsiteY25" fmla="*/ 6072549 h 6093240"/>
              <a:gd name="connsiteX26" fmla="*/ 212534 w 6983126"/>
              <a:gd name="connsiteY26" fmla="*/ 5725416 h 6093240"/>
              <a:gd name="connsiteX27" fmla="*/ 49186 w 6983126"/>
              <a:gd name="connsiteY27" fmla="*/ 4184868 h 6093240"/>
              <a:gd name="connsiteX0" fmla="*/ 49186 w 6983126"/>
              <a:gd name="connsiteY0" fmla="*/ 4184868 h 6093240"/>
              <a:gd name="connsiteX1" fmla="*/ 588915 w 6983126"/>
              <a:gd name="connsiteY1" fmla="*/ 2586365 h 6093240"/>
              <a:gd name="connsiteX2" fmla="*/ 820830 w 6983126"/>
              <a:gd name="connsiteY2" fmla="*/ 2308788 h 6093240"/>
              <a:gd name="connsiteX3" fmla="*/ 1105382 w 6983126"/>
              <a:gd name="connsiteY3" fmla="*/ 2137631 h 6093240"/>
              <a:gd name="connsiteX4" fmla="*/ 2375382 w 6983126"/>
              <a:gd name="connsiteY4" fmla="*/ 1782032 h 6093240"/>
              <a:gd name="connsiteX5" fmla="*/ 2714048 w 6983126"/>
              <a:gd name="connsiteY5" fmla="*/ 1485699 h 6093240"/>
              <a:gd name="connsiteX6" fmla="*/ 2747913 w 6983126"/>
              <a:gd name="connsiteY6" fmla="*/ 1147033 h 6093240"/>
              <a:gd name="connsiteX7" fmla="*/ 2693267 w 6983126"/>
              <a:gd name="connsiteY7" fmla="*/ 890946 h 6093240"/>
              <a:gd name="connsiteX8" fmla="*/ 2758520 w 6983126"/>
              <a:gd name="connsiteY8" fmla="*/ 44668 h 6093240"/>
              <a:gd name="connsiteX9" fmla="*/ 4737581 w 6983126"/>
              <a:gd name="connsiteY9" fmla="*/ 181833 h 6093240"/>
              <a:gd name="connsiteX10" fmla="*/ 5304848 w 6983126"/>
              <a:gd name="connsiteY10" fmla="*/ 588232 h 6093240"/>
              <a:gd name="connsiteX11" fmla="*/ 5614266 w 6983126"/>
              <a:gd name="connsiteY11" fmla="*/ 890946 h 6093240"/>
              <a:gd name="connsiteX12" fmla="*/ 5685848 w 6983126"/>
              <a:gd name="connsiteY12" fmla="*/ 1307900 h 6093240"/>
              <a:gd name="connsiteX13" fmla="*/ 6811915 w 6983126"/>
              <a:gd name="connsiteY13" fmla="*/ 1646566 h 6093240"/>
              <a:gd name="connsiteX14" fmla="*/ 6974920 w 6983126"/>
              <a:gd name="connsiteY14" fmla="*/ 2203669 h 6093240"/>
              <a:gd name="connsiteX15" fmla="*/ 6879647 w 6983126"/>
              <a:gd name="connsiteY15" fmla="*/ 3348366 h 6093240"/>
              <a:gd name="connsiteX16" fmla="*/ 6401667 w 6983126"/>
              <a:gd name="connsiteY16" fmla="*/ 3972814 h 6093240"/>
              <a:gd name="connsiteX17" fmla="*/ 5920369 w 6983126"/>
              <a:gd name="connsiteY17" fmla="*/ 4196204 h 6093240"/>
              <a:gd name="connsiteX18" fmla="*/ 5464410 w 6983126"/>
              <a:gd name="connsiteY18" fmla="*/ 4402791 h 6093240"/>
              <a:gd name="connsiteX19" fmla="*/ 5056769 w 6983126"/>
              <a:gd name="connsiteY19" fmla="*/ 5264306 h 6093240"/>
              <a:gd name="connsiteX20" fmla="*/ 4472569 w 6983126"/>
              <a:gd name="connsiteY20" fmla="*/ 5632280 h 6093240"/>
              <a:gd name="connsiteX21" fmla="*/ 4060434 w 6983126"/>
              <a:gd name="connsiteY21" fmla="*/ 5594242 h 6093240"/>
              <a:gd name="connsiteX22" fmla="*/ 3530755 w 6983126"/>
              <a:gd name="connsiteY22" fmla="*/ 5319795 h 6093240"/>
              <a:gd name="connsiteX23" fmla="*/ 2939451 w 6983126"/>
              <a:gd name="connsiteY23" fmla="*/ 5612742 h 6093240"/>
              <a:gd name="connsiteX24" fmla="*/ 1950746 w 6983126"/>
              <a:gd name="connsiteY24" fmla="*/ 6011458 h 6093240"/>
              <a:gd name="connsiteX25" fmla="*/ 1008401 w 6983126"/>
              <a:gd name="connsiteY25" fmla="*/ 6072549 h 6093240"/>
              <a:gd name="connsiteX26" fmla="*/ 212534 w 6983126"/>
              <a:gd name="connsiteY26" fmla="*/ 5725416 h 6093240"/>
              <a:gd name="connsiteX27" fmla="*/ 49186 w 6983126"/>
              <a:gd name="connsiteY27" fmla="*/ 4184868 h 6093240"/>
              <a:gd name="connsiteX0" fmla="*/ 49186 w 6983126"/>
              <a:gd name="connsiteY0" fmla="*/ 4184868 h 6093240"/>
              <a:gd name="connsiteX1" fmla="*/ 588915 w 6983126"/>
              <a:gd name="connsiteY1" fmla="*/ 2586365 h 6093240"/>
              <a:gd name="connsiteX2" fmla="*/ 820830 w 6983126"/>
              <a:gd name="connsiteY2" fmla="*/ 2308788 h 6093240"/>
              <a:gd name="connsiteX3" fmla="*/ 1105382 w 6983126"/>
              <a:gd name="connsiteY3" fmla="*/ 2137631 h 6093240"/>
              <a:gd name="connsiteX4" fmla="*/ 2375382 w 6983126"/>
              <a:gd name="connsiteY4" fmla="*/ 1782032 h 6093240"/>
              <a:gd name="connsiteX5" fmla="*/ 2714048 w 6983126"/>
              <a:gd name="connsiteY5" fmla="*/ 1485699 h 6093240"/>
              <a:gd name="connsiteX6" fmla="*/ 2747913 w 6983126"/>
              <a:gd name="connsiteY6" fmla="*/ 1147033 h 6093240"/>
              <a:gd name="connsiteX7" fmla="*/ 2693267 w 6983126"/>
              <a:gd name="connsiteY7" fmla="*/ 890946 h 6093240"/>
              <a:gd name="connsiteX8" fmla="*/ 2758520 w 6983126"/>
              <a:gd name="connsiteY8" fmla="*/ 44668 h 6093240"/>
              <a:gd name="connsiteX9" fmla="*/ 4737581 w 6983126"/>
              <a:gd name="connsiteY9" fmla="*/ 181833 h 6093240"/>
              <a:gd name="connsiteX10" fmla="*/ 5304848 w 6983126"/>
              <a:gd name="connsiteY10" fmla="*/ 588232 h 6093240"/>
              <a:gd name="connsiteX11" fmla="*/ 5614266 w 6983126"/>
              <a:gd name="connsiteY11" fmla="*/ 890946 h 6093240"/>
              <a:gd name="connsiteX12" fmla="*/ 5685848 w 6983126"/>
              <a:gd name="connsiteY12" fmla="*/ 1307900 h 6093240"/>
              <a:gd name="connsiteX13" fmla="*/ 6811915 w 6983126"/>
              <a:gd name="connsiteY13" fmla="*/ 1646566 h 6093240"/>
              <a:gd name="connsiteX14" fmla="*/ 6974920 w 6983126"/>
              <a:gd name="connsiteY14" fmla="*/ 2203669 h 6093240"/>
              <a:gd name="connsiteX15" fmla="*/ 6879647 w 6983126"/>
              <a:gd name="connsiteY15" fmla="*/ 3348366 h 6093240"/>
              <a:gd name="connsiteX16" fmla="*/ 6401667 w 6983126"/>
              <a:gd name="connsiteY16" fmla="*/ 3972814 h 6093240"/>
              <a:gd name="connsiteX17" fmla="*/ 5920369 w 6983126"/>
              <a:gd name="connsiteY17" fmla="*/ 4196204 h 6093240"/>
              <a:gd name="connsiteX18" fmla="*/ 5464410 w 6983126"/>
              <a:gd name="connsiteY18" fmla="*/ 4402791 h 6093240"/>
              <a:gd name="connsiteX19" fmla="*/ 5056769 w 6983126"/>
              <a:gd name="connsiteY19" fmla="*/ 5264306 h 6093240"/>
              <a:gd name="connsiteX20" fmla="*/ 4472569 w 6983126"/>
              <a:gd name="connsiteY20" fmla="*/ 5632280 h 6093240"/>
              <a:gd name="connsiteX21" fmla="*/ 4060434 w 6983126"/>
              <a:gd name="connsiteY21" fmla="*/ 5594242 h 6093240"/>
              <a:gd name="connsiteX22" fmla="*/ 3530755 w 6983126"/>
              <a:gd name="connsiteY22" fmla="*/ 5319795 h 6093240"/>
              <a:gd name="connsiteX23" fmla="*/ 2939451 w 6983126"/>
              <a:gd name="connsiteY23" fmla="*/ 5612742 h 6093240"/>
              <a:gd name="connsiteX24" fmla="*/ 1950746 w 6983126"/>
              <a:gd name="connsiteY24" fmla="*/ 6011458 h 6093240"/>
              <a:gd name="connsiteX25" fmla="*/ 1008401 w 6983126"/>
              <a:gd name="connsiteY25" fmla="*/ 6072549 h 6093240"/>
              <a:gd name="connsiteX26" fmla="*/ 212534 w 6983126"/>
              <a:gd name="connsiteY26" fmla="*/ 5725416 h 6093240"/>
              <a:gd name="connsiteX27" fmla="*/ 49186 w 6983126"/>
              <a:gd name="connsiteY27" fmla="*/ 4184868 h 6093240"/>
              <a:gd name="connsiteX0" fmla="*/ 49186 w 6983126"/>
              <a:gd name="connsiteY0" fmla="*/ 4184868 h 6093240"/>
              <a:gd name="connsiteX1" fmla="*/ 588915 w 6983126"/>
              <a:gd name="connsiteY1" fmla="*/ 2586365 h 6093240"/>
              <a:gd name="connsiteX2" fmla="*/ 820830 w 6983126"/>
              <a:gd name="connsiteY2" fmla="*/ 2308788 h 6093240"/>
              <a:gd name="connsiteX3" fmla="*/ 1105382 w 6983126"/>
              <a:gd name="connsiteY3" fmla="*/ 2137631 h 6093240"/>
              <a:gd name="connsiteX4" fmla="*/ 2375382 w 6983126"/>
              <a:gd name="connsiteY4" fmla="*/ 1782032 h 6093240"/>
              <a:gd name="connsiteX5" fmla="*/ 2714048 w 6983126"/>
              <a:gd name="connsiteY5" fmla="*/ 1485699 h 6093240"/>
              <a:gd name="connsiteX6" fmla="*/ 2747913 w 6983126"/>
              <a:gd name="connsiteY6" fmla="*/ 1147033 h 6093240"/>
              <a:gd name="connsiteX7" fmla="*/ 2693267 w 6983126"/>
              <a:gd name="connsiteY7" fmla="*/ 890946 h 6093240"/>
              <a:gd name="connsiteX8" fmla="*/ 2758520 w 6983126"/>
              <a:gd name="connsiteY8" fmla="*/ 44668 h 6093240"/>
              <a:gd name="connsiteX9" fmla="*/ 4737581 w 6983126"/>
              <a:gd name="connsiteY9" fmla="*/ 181833 h 6093240"/>
              <a:gd name="connsiteX10" fmla="*/ 5304848 w 6983126"/>
              <a:gd name="connsiteY10" fmla="*/ 588232 h 6093240"/>
              <a:gd name="connsiteX11" fmla="*/ 5614266 w 6983126"/>
              <a:gd name="connsiteY11" fmla="*/ 890946 h 6093240"/>
              <a:gd name="connsiteX12" fmla="*/ 5685848 w 6983126"/>
              <a:gd name="connsiteY12" fmla="*/ 1307900 h 6093240"/>
              <a:gd name="connsiteX13" fmla="*/ 6811915 w 6983126"/>
              <a:gd name="connsiteY13" fmla="*/ 1646566 h 6093240"/>
              <a:gd name="connsiteX14" fmla="*/ 6974920 w 6983126"/>
              <a:gd name="connsiteY14" fmla="*/ 2203669 h 6093240"/>
              <a:gd name="connsiteX15" fmla="*/ 6879647 w 6983126"/>
              <a:gd name="connsiteY15" fmla="*/ 3348366 h 6093240"/>
              <a:gd name="connsiteX16" fmla="*/ 6401667 w 6983126"/>
              <a:gd name="connsiteY16" fmla="*/ 3972814 h 6093240"/>
              <a:gd name="connsiteX17" fmla="*/ 5920369 w 6983126"/>
              <a:gd name="connsiteY17" fmla="*/ 4196204 h 6093240"/>
              <a:gd name="connsiteX18" fmla="*/ 5464410 w 6983126"/>
              <a:gd name="connsiteY18" fmla="*/ 4402791 h 6093240"/>
              <a:gd name="connsiteX19" fmla="*/ 5056769 w 6983126"/>
              <a:gd name="connsiteY19" fmla="*/ 5264306 h 6093240"/>
              <a:gd name="connsiteX20" fmla="*/ 4472569 w 6983126"/>
              <a:gd name="connsiteY20" fmla="*/ 5632280 h 6093240"/>
              <a:gd name="connsiteX21" fmla="*/ 4060434 w 6983126"/>
              <a:gd name="connsiteY21" fmla="*/ 5594242 h 6093240"/>
              <a:gd name="connsiteX22" fmla="*/ 3524893 w 6983126"/>
              <a:gd name="connsiteY22" fmla="*/ 5272903 h 6093240"/>
              <a:gd name="connsiteX23" fmla="*/ 2939451 w 6983126"/>
              <a:gd name="connsiteY23" fmla="*/ 5612742 h 6093240"/>
              <a:gd name="connsiteX24" fmla="*/ 1950746 w 6983126"/>
              <a:gd name="connsiteY24" fmla="*/ 6011458 h 6093240"/>
              <a:gd name="connsiteX25" fmla="*/ 1008401 w 6983126"/>
              <a:gd name="connsiteY25" fmla="*/ 6072549 h 6093240"/>
              <a:gd name="connsiteX26" fmla="*/ 212534 w 6983126"/>
              <a:gd name="connsiteY26" fmla="*/ 5725416 h 6093240"/>
              <a:gd name="connsiteX27" fmla="*/ 49186 w 6983126"/>
              <a:gd name="connsiteY27" fmla="*/ 4184868 h 6093240"/>
              <a:gd name="connsiteX0" fmla="*/ 49186 w 6983126"/>
              <a:gd name="connsiteY0" fmla="*/ 4184868 h 6093240"/>
              <a:gd name="connsiteX1" fmla="*/ 588915 w 6983126"/>
              <a:gd name="connsiteY1" fmla="*/ 2586365 h 6093240"/>
              <a:gd name="connsiteX2" fmla="*/ 820830 w 6983126"/>
              <a:gd name="connsiteY2" fmla="*/ 2308788 h 6093240"/>
              <a:gd name="connsiteX3" fmla="*/ 1105382 w 6983126"/>
              <a:gd name="connsiteY3" fmla="*/ 2137631 h 6093240"/>
              <a:gd name="connsiteX4" fmla="*/ 2375382 w 6983126"/>
              <a:gd name="connsiteY4" fmla="*/ 1782032 h 6093240"/>
              <a:gd name="connsiteX5" fmla="*/ 2714048 w 6983126"/>
              <a:gd name="connsiteY5" fmla="*/ 1485699 h 6093240"/>
              <a:gd name="connsiteX6" fmla="*/ 2747913 w 6983126"/>
              <a:gd name="connsiteY6" fmla="*/ 1147033 h 6093240"/>
              <a:gd name="connsiteX7" fmla="*/ 2693267 w 6983126"/>
              <a:gd name="connsiteY7" fmla="*/ 890946 h 6093240"/>
              <a:gd name="connsiteX8" fmla="*/ 2758520 w 6983126"/>
              <a:gd name="connsiteY8" fmla="*/ 44668 h 6093240"/>
              <a:gd name="connsiteX9" fmla="*/ 4737581 w 6983126"/>
              <a:gd name="connsiteY9" fmla="*/ 181833 h 6093240"/>
              <a:gd name="connsiteX10" fmla="*/ 5304848 w 6983126"/>
              <a:gd name="connsiteY10" fmla="*/ 588232 h 6093240"/>
              <a:gd name="connsiteX11" fmla="*/ 5614266 w 6983126"/>
              <a:gd name="connsiteY11" fmla="*/ 890946 h 6093240"/>
              <a:gd name="connsiteX12" fmla="*/ 5685848 w 6983126"/>
              <a:gd name="connsiteY12" fmla="*/ 1307900 h 6093240"/>
              <a:gd name="connsiteX13" fmla="*/ 6811915 w 6983126"/>
              <a:gd name="connsiteY13" fmla="*/ 1646566 h 6093240"/>
              <a:gd name="connsiteX14" fmla="*/ 6974920 w 6983126"/>
              <a:gd name="connsiteY14" fmla="*/ 2203669 h 6093240"/>
              <a:gd name="connsiteX15" fmla="*/ 6879647 w 6983126"/>
              <a:gd name="connsiteY15" fmla="*/ 3348366 h 6093240"/>
              <a:gd name="connsiteX16" fmla="*/ 6401667 w 6983126"/>
              <a:gd name="connsiteY16" fmla="*/ 3972814 h 6093240"/>
              <a:gd name="connsiteX17" fmla="*/ 5920369 w 6983126"/>
              <a:gd name="connsiteY17" fmla="*/ 4196204 h 6093240"/>
              <a:gd name="connsiteX18" fmla="*/ 5464410 w 6983126"/>
              <a:gd name="connsiteY18" fmla="*/ 4402791 h 6093240"/>
              <a:gd name="connsiteX19" fmla="*/ 5056769 w 6983126"/>
              <a:gd name="connsiteY19" fmla="*/ 5264306 h 6093240"/>
              <a:gd name="connsiteX20" fmla="*/ 4472569 w 6983126"/>
              <a:gd name="connsiteY20" fmla="*/ 5632280 h 6093240"/>
              <a:gd name="connsiteX21" fmla="*/ 4060434 w 6983126"/>
              <a:gd name="connsiteY21" fmla="*/ 5594242 h 6093240"/>
              <a:gd name="connsiteX22" fmla="*/ 3548339 w 6983126"/>
              <a:gd name="connsiteY22" fmla="*/ 5319795 h 6093240"/>
              <a:gd name="connsiteX23" fmla="*/ 2939451 w 6983126"/>
              <a:gd name="connsiteY23" fmla="*/ 5612742 h 6093240"/>
              <a:gd name="connsiteX24" fmla="*/ 1950746 w 6983126"/>
              <a:gd name="connsiteY24" fmla="*/ 6011458 h 6093240"/>
              <a:gd name="connsiteX25" fmla="*/ 1008401 w 6983126"/>
              <a:gd name="connsiteY25" fmla="*/ 6072549 h 6093240"/>
              <a:gd name="connsiteX26" fmla="*/ 212534 w 6983126"/>
              <a:gd name="connsiteY26" fmla="*/ 5725416 h 6093240"/>
              <a:gd name="connsiteX27" fmla="*/ 49186 w 6983126"/>
              <a:gd name="connsiteY27" fmla="*/ 4184868 h 6093240"/>
              <a:gd name="connsiteX0" fmla="*/ 49186 w 6983126"/>
              <a:gd name="connsiteY0" fmla="*/ 4184868 h 6093240"/>
              <a:gd name="connsiteX1" fmla="*/ 588915 w 6983126"/>
              <a:gd name="connsiteY1" fmla="*/ 2586365 h 6093240"/>
              <a:gd name="connsiteX2" fmla="*/ 820830 w 6983126"/>
              <a:gd name="connsiteY2" fmla="*/ 2308788 h 6093240"/>
              <a:gd name="connsiteX3" fmla="*/ 1105382 w 6983126"/>
              <a:gd name="connsiteY3" fmla="*/ 2137631 h 6093240"/>
              <a:gd name="connsiteX4" fmla="*/ 2375382 w 6983126"/>
              <a:gd name="connsiteY4" fmla="*/ 1782032 h 6093240"/>
              <a:gd name="connsiteX5" fmla="*/ 2714048 w 6983126"/>
              <a:gd name="connsiteY5" fmla="*/ 1485699 h 6093240"/>
              <a:gd name="connsiteX6" fmla="*/ 2747913 w 6983126"/>
              <a:gd name="connsiteY6" fmla="*/ 1147033 h 6093240"/>
              <a:gd name="connsiteX7" fmla="*/ 2693267 w 6983126"/>
              <a:gd name="connsiteY7" fmla="*/ 890946 h 6093240"/>
              <a:gd name="connsiteX8" fmla="*/ 2758520 w 6983126"/>
              <a:gd name="connsiteY8" fmla="*/ 44668 h 6093240"/>
              <a:gd name="connsiteX9" fmla="*/ 4737581 w 6983126"/>
              <a:gd name="connsiteY9" fmla="*/ 181833 h 6093240"/>
              <a:gd name="connsiteX10" fmla="*/ 5304848 w 6983126"/>
              <a:gd name="connsiteY10" fmla="*/ 588232 h 6093240"/>
              <a:gd name="connsiteX11" fmla="*/ 5614266 w 6983126"/>
              <a:gd name="connsiteY11" fmla="*/ 890946 h 6093240"/>
              <a:gd name="connsiteX12" fmla="*/ 5685848 w 6983126"/>
              <a:gd name="connsiteY12" fmla="*/ 1307900 h 6093240"/>
              <a:gd name="connsiteX13" fmla="*/ 6811915 w 6983126"/>
              <a:gd name="connsiteY13" fmla="*/ 1646566 h 6093240"/>
              <a:gd name="connsiteX14" fmla="*/ 6974920 w 6983126"/>
              <a:gd name="connsiteY14" fmla="*/ 2203669 h 6093240"/>
              <a:gd name="connsiteX15" fmla="*/ 6879647 w 6983126"/>
              <a:gd name="connsiteY15" fmla="*/ 3348366 h 6093240"/>
              <a:gd name="connsiteX16" fmla="*/ 6401667 w 6983126"/>
              <a:gd name="connsiteY16" fmla="*/ 3972814 h 6093240"/>
              <a:gd name="connsiteX17" fmla="*/ 5920369 w 6983126"/>
              <a:gd name="connsiteY17" fmla="*/ 4196204 h 6093240"/>
              <a:gd name="connsiteX18" fmla="*/ 5464410 w 6983126"/>
              <a:gd name="connsiteY18" fmla="*/ 4402791 h 6093240"/>
              <a:gd name="connsiteX19" fmla="*/ 5056769 w 6983126"/>
              <a:gd name="connsiteY19" fmla="*/ 5264306 h 6093240"/>
              <a:gd name="connsiteX20" fmla="*/ 4472569 w 6983126"/>
              <a:gd name="connsiteY20" fmla="*/ 5632280 h 6093240"/>
              <a:gd name="connsiteX21" fmla="*/ 4060434 w 6983126"/>
              <a:gd name="connsiteY21" fmla="*/ 5594242 h 6093240"/>
              <a:gd name="connsiteX22" fmla="*/ 3548339 w 6983126"/>
              <a:gd name="connsiteY22" fmla="*/ 5319795 h 6093240"/>
              <a:gd name="connsiteX23" fmla="*/ 2939451 w 6983126"/>
              <a:gd name="connsiteY23" fmla="*/ 5612742 h 6093240"/>
              <a:gd name="connsiteX24" fmla="*/ 1950746 w 6983126"/>
              <a:gd name="connsiteY24" fmla="*/ 6011458 h 6093240"/>
              <a:gd name="connsiteX25" fmla="*/ 1008401 w 6983126"/>
              <a:gd name="connsiteY25" fmla="*/ 6072549 h 6093240"/>
              <a:gd name="connsiteX26" fmla="*/ 212534 w 6983126"/>
              <a:gd name="connsiteY26" fmla="*/ 5725416 h 6093240"/>
              <a:gd name="connsiteX27" fmla="*/ 49186 w 6983126"/>
              <a:gd name="connsiteY27" fmla="*/ 4184868 h 6093240"/>
              <a:gd name="connsiteX0" fmla="*/ 49186 w 6983126"/>
              <a:gd name="connsiteY0" fmla="*/ 4184868 h 6093240"/>
              <a:gd name="connsiteX1" fmla="*/ 588915 w 6983126"/>
              <a:gd name="connsiteY1" fmla="*/ 2586365 h 6093240"/>
              <a:gd name="connsiteX2" fmla="*/ 820830 w 6983126"/>
              <a:gd name="connsiteY2" fmla="*/ 2308788 h 6093240"/>
              <a:gd name="connsiteX3" fmla="*/ 1105382 w 6983126"/>
              <a:gd name="connsiteY3" fmla="*/ 2137631 h 6093240"/>
              <a:gd name="connsiteX4" fmla="*/ 2375382 w 6983126"/>
              <a:gd name="connsiteY4" fmla="*/ 1782032 h 6093240"/>
              <a:gd name="connsiteX5" fmla="*/ 2714048 w 6983126"/>
              <a:gd name="connsiteY5" fmla="*/ 1485699 h 6093240"/>
              <a:gd name="connsiteX6" fmla="*/ 2747913 w 6983126"/>
              <a:gd name="connsiteY6" fmla="*/ 1147033 h 6093240"/>
              <a:gd name="connsiteX7" fmla="*/ 2693267 w 6983126"/>
              <a:gd name="connsiteY7" fmla="*/ 890946 h 6093240"/>
              <a:gd name="connsiteX8" fmla="*/ 2758520 w 6983126"/>
              <a:gd name="connsiteY8" fmla="*/ 44668 h 6093240"/>
              <a:gd name="connsiteX9" fmla="*/ 4737581 w 6983126"/>
              <a:gd name="connsiteY9" fmla="*/ 181833 h 6093240"/>
              <a:gd name="connsiteX10" fmla="*/ 5304848 w 6983126"/>
              <a:gd name="connsiteY10" fmla="*/ 588232 h 6093240"/>
              <a:gd name="connsiteX11" fmla="*/ 5614266 w 6983126"/>
              <a:gd name="connsiteY11" fmla="*/ 890946 h 6093240"/>
              <a:gd name="connsiteX12" fmla="*/ 5685848 w 6983126"/>
              <a:gd name="connsiteY12" fmla="*/ 1307900 h 6093240"/>
              <a:gd name="connsiteX13" fmla="*/ 6811915 w 6983126"/>
              <a:gd name="connsiteY13" fmla="*/ 1646566 h 6093240"/>
              <a:gd name="connsiteX14" fmla="*/ 6974920 w 6983126"/>
              <a:gd name="connsiteY14" fmla="*/ 2203669 h 6093240"/>
              <a:gd name="connsiteX15" fmla="*/ 6879647 w 6983126"/>
              <a:gd name="connsiteY15" fmla="*/ 3348366 h 6093240"/>
              <a:gd name="connsiteX16" fmla="*/ 6401667 w 6983126"/>
              <a:gd name="connsiteY16" fmla="*/ 3972814 h 6093240"/>
              <a:gd name="connsiteX17" fmla="*/ 5920369 w 6983126"/>
              <a:gd name="connsiteY17" fmla="*/ 4196204 h 6093240"/>
              <a:gd name="connsiteX18" fmla="*/ 5464410 w 6983126"/>
              <a:gd name="connsiteY18" fmla="*/ 4402791 h 6093240"/>
              <a:gd name="connsiteX19" fmla="*/ 5056769 w 6983126"/>
              <a:gd name="connsiteY19" fmla="*/ 5264306 h 6093240"/>
              <a:gd name="connsiteX20" fmla="*/ 4472569 w 6983126"/>
              <a:gd name="connsiteY20" fmla="*/ 5632280 h 6093240"/>
              <a:gd name="connsiteX21" fmla="*/ 3978373 w 6983126"/>
              <a:gd name="connsiteY21" fmla="*/ 5564935 h 6093240"/>
              <a:gd name="connsiteX22" fmla="*/ 3548339 w 6983126"/>
              <a:gd name="connsiteY22" fmla="*/ 5319795 h 6093240"/>
              <a:gd name="connsiteX23" fmla="*/ 2939451 w 6983126"/>
              <a:gd name="connsiteY23" fmla="*/ 5612742 h 6093240"/>
              <a:gd name="connsiteX24" fmla="*/ 1950746 w 6983126"/>
              <a:gd name="connsiteY24" fmla="*/ 6011458 h 6093240"/>
              <a:gd name="connsiteX25" fmla="*/ 1008401 w 6983126"/>
              <a:gd name="connsiteY25" fmla="*/ 6072549 h 6093240"/>
              <a:gd name="connsiteX26" fmla="*/ 212534 w 6983126"/>
              <a:gd name="connsiteY26" fmla="*/ 5725416 h 6093240"/>
              <a:gd name="connsiteX27" fmla="*/ 49186 w 6983126"/>
              <a:gd name="connsiteY27" fmla="*/ 4184868 h 6093240"/>
              <a:gd name="connsiteX0" fmla="*/ 49186 w 6983126"/>
              <a:gd name="connsiteY0" fmla="*/ 4184868 h 6086504"/>
              <a:gd name="connsiteX1" fmla="*/ 588915 w 6983126"/>
              <a:gd name="connsiteY1" fmla="*/ 2586365 h 6086504"/>
              <a:gd name="connsiteX2" fmla="*/ 820830 w 6983126"/>
              <a:gd name="connsiteY2" fmla="*/ 2308788 h 6086504"/>
              <a:gd name="connsiteX3" fmla="*/ 1105382 w 6983126"/>
              <a:gd name="connsiteY3" fmla="*/ 2137631 h 6086504"/>
              <a:gd name="connsiteX4" fmla="*/ 2375382 w 6983126"/>
              <a:gd name="connsiteY4" fmla="*/ 1782032 h 6086504"/>
              <a:gd name="connsiteX5" fmla="*/ 2714048 w 6983126"/>
              <a:gd name="connsiteY5" fmla="*/ 1485699 h 6086504"/>
              <a:gd name="connsiteX6" fmla="*/ 2747913 w 6983126"/>
              <a:gd name="connsiteY6" fmla="*/ 1147033 h 6086504"/>
              <a:gd name="connsiteX7" fmla="*/ 2693267 w 6983126"/>
              <a:gd name="connsiteY7" fmla="*/ 890946 h 6086504"/>
              <a:gd name="connsiteX8" fmla="*/ 2758520 w 6983126"/>
              <a:gd name="connsiteY8" fmla="*/ 44668 h 6086504"/>
              <a:gd name="connsiteX9" fmla="*/ 4737581 w 6983126"/>
              <a:gd name="connsiteY9" fmla="*/ 181833 h 6086504"/>
              <a:gd name="connsiteX10" fmla="*/ 5304848 w 6983126"/>
              <a:gd name="connsiteY10" fmla="*/ 588232 h 6086504"/>
              <a:gd name="connsiteX11" fmla="*/ 5614266 w 6983126"/>
              <a:gd name="connsiteY11" fmla="*/ 890946 h 6086504"/>
              <a:gd name="connsiteX12" fmla="*/ 5685848 w 6983126"/>
              <a:gd name="connsiteY12" fmla="*/ 1307900 h 6086504"/>
              <a:gd name="connsiteX13" fmla="*/ 6811915 w 6983126"/>
              <a:gd name="connsiteY13" fmla="*/ 1646566 h 6086504"/>
              <a:gd name="connsiteX14" fmla="*/ 6974920 w 6983126"/>
              <a:gd name="connsiteY14" fmla="*/ 2203669 h 6086504"/>
              <a:gd name="connsiteX15" fmla="*/ 6879647 w 6983126"/>
              <a:gd name="connsiteY15" fmla="*/ 3348366 h 6086504"/>
              <a:gd name="connsiteX16" fmla="*/ 6401667 w 6983126"/>
              <a:gd name="connsiteY16" fmla="*/ 3972814 h 6086504"/>
              <a:gd name="connsiteX17" fmla="*/ 5920369 w 6983126"/>
              <a:gd name="connsiteY17" fmla="*/ 4196204 h 6086504"/>
              <a:gd name="connsiteX18" fmla="*/ 5464410 w 6983126"/>
              <a:gd name="connsiteY18" fmla="*/ 4402791 h 6086504"/>
              <a:gd name="connsiteX19" fmla="*/ 5056769 w 6983126"/>
              <a:gd name="connsiteY19" fmla="*/ 5264306 h 6086504"/>
              <a:gd name="connsiteX20" fmla="*/ 4472569 w 6983126"/>
              <a:gd name="connsiteY20" fmla="*/ 5632280 h 6086504"/>
              <a:gd name="connsiteX21" fmla="*/ 3978373 w 6983126"/>
              <a:gd name="connsiteY21" fmla="*/ 5564935 h 6086504"/>
              <a:gd name="connsiteX22" fmla="*/ 3548339 w 6983126"/>
              <a:gd name="connsiteY22" fmla="*/ 5319795 h 6086504"/>
              <a:gd name="connsiteX23" fmla="*/ 2939451 w 6983126"/>
              <a:gd name="connsiteY23" fmla="*/ 5612742 h 6086504"/>
              <a:gd name="connsiteX24" fmla="*/ 2462062 w 6983126"/>
              <a:gd name="connsiteY24" fmla="*/ 5813988 h 6086504"/>
              <a:gd name="connsiteX25" fmla="*/ 1950746 w 6983126"/>
              <a:gd name="connsiteY25" fmla="*/ 6011458 h 6086504"/>
              <a:gd name="connsiteX26" fmla="*/ 1008401 w 6983126"/>
              <a:gd name="connsiteY26" fmla="*/ 6072549 h 6086504"/>
              <a:gd name="connsiteX27" fmla="*/ 212534 w 6983126"/>
              <a:gd name="connsiteY27" fmla="*/ 5725416 h 6086504"/>
              <a:gd name="connsiteX28" fmla="*/ 49186 w 6983126"/>
              <a:gd name="connsiteY28" fmla="*/ 4184868 h 6086504"/>
              <a:gd name="connsiteX0" fmla="*/ 49186 w 6983126"/>
              <a:gd name="connsiteY0" fmla="*/ 4184868 h 6086504"/>
              <a:gd name="connsiteX1" fmla="*/ 588915 w 6983126"/>
              <a:gd name="connsiteY1" fmla="*/ 2586365 h 6086504"/>
              <a:gd name="connsiteX2" fmla="*/ 820830 w 6983126"/>
              <a:gd name="connsiteY2" fmla="*/ 2308788 h 6086504"/>
              <a:gd name="connsiteX3" fmla="*/ 1105382 w 6983126"/>
              <a:gd name="connsiteY3" fmla="*/ 2137631 h 6086504"/>
              <a:gd name="connsiteX4" fmla="*/ 2375382 w 6983126"/>
              <a:gd name="connsiteY4" fmla="*/ 1782032 h 6086504"/>
              <a:gd name="connsiteX5" fmla="*/ 2714048 w 6983126"/>
              <a:gd name="connsiteY5" fmla="*/ 1485699 h 6086504"/>
              <a:gd name="connsiteX6" fmla="*/ 2747913 w 6983126"/>
              <a:gd name="connsiteY6" fmla="*/ 1147033 h 6086504"/>
              <a:gd name="connsiteX7" fmla="*/ 2693267 w 6983126"/>
              <a:gd name="connsiteY7" fmla="*/ 890946 h 6086504"/>
              <a:gd name="connsiteX8" fmla="*/ 2758520 w 6983126"/>
              <a:gd name="connsiteY8" fmla="*/ 44668 h 6086504"/>
              <a:gd name="connsiteX9" fmla="*/ 4737581 w 6983126"/>
              <a:gd name="connsiteY9" fmla="*/ 181833 h 6086504"/>
              <a:gd name="connsiteX10" fmla="*/ 5304848 w 6983126"/>
              <a:gd name="connsiteY10" fmla="*/ 588232 h 6086504"/>
              <a:gd name="connsiteX11" fmla="*/ 5614266 w 6983126"/>
              <a:gd name="connsiteY11" fmla="*/ 890946 h 6086504"/>
              <a:gd name="connsiteX12" fmla="*/ 5685848 w 6983126"/>
              <a:gd name="connsiteY12" fmla="*/ 1307900 h 6086504"/>
              <a:gd name="connsiteX13" fmla="*/ 6811915 w 6983126"/>
              <a:gd name="connsiteY13" fmla="*/ 1646566 h 6086504"/>
              <a:gd name="connsiteX14" fmla="*/ 6974920 w 6983126"/>
              <a:gd name="connsiteY14" fmla="*/ 2203669 h 6086504"/>
              <a:gd name="connsiteX15" fmla="*/ 6879647 w 6983126"/>
              <a:gd name="connsiteY15" fmla="*/ 3348366 h 6086504"/>
              <a:gd name="connsiteX16" fmla="*/ 6401667 w 6983126"/>
              <a:gd name="connsiteY16" fmla="*/ 3972814 h 6086504"/>
              <a:gd name="connsiteX17" fmla="*/ 5920369 w 6983126"/>
              <a:gd name="connsiteY17" fmla="*/ 4196204 h 6086504"/>
              <a:gd name="connsiteX18" fmla="*/ 5464410 w 6983126"/>
              <a:gd name="connsiteY18" fmla="*/ 4402791 h 6086504"/>
              <a:gd name="connsiteX19" fmla="*/ 5056769 w 6983126"/>
              <a:gd name="connsiteY19" fmla="*/ 5264306 h 6086504"/>
              <a:gd name="connsiteX20" fmla="*/ 4472569 w 6983126"/>
              <a:gd name="connsiteY20" fmla="*/ 5632280 h 6086504"/>
              <a:gd name="connsiteX21" fmla="*/ 3978373 w 6983126"/>
              <a:gd name="connsiteY21" fmla="*/ 5564935 h 6086504"/>
              <a:gd name="connsiteX22" fmla="*/ 3548339 w 6983126"/>
              <a:gd name="connsiteY22" fmla="*/ 5319795 h 6086504"/>
              <a:gd name="connsiteX23" fmla="*/ 2939451 w 6983126"/>
              <a:gd name="connsiteY23" fmla="*/ 5612742 h 6086504"/>
              <a:gd name="connsiteX24" fmla="*/ 2485508 w 6983126"/>
              <a:gd name="connsiteY24" fmla="*/ 5831573 h 6086504"/>
              <a:gd name="connsiteX25" fmla="*/ 1950746 w 6983126"/>
              <a:gd name="connsiteY25" fmla="*/ 6011458 h 6086504"/>
              <a:gd name="connsiteX26" fmla="*/ 1008401 w 6983126"/>
              <a:gd name="connsiteY26" fmla="*/ 6072549 h 6086504"/>
              <a:gd name="connsiteX27" fmla="*/ 212534 w 6983126"/>
              <a:gd name="connsiteY27" fmla="*/ 5725416 h 6086504"/>
              <a:gd name="connsiteX28" fmla="*/ 49186 w 6983126"/>
              <a:gd name="connsiteY28" fmla="*/ 4184868 h 6086504"/>
              <a:gd name="connsiteX0" fmla="*/ 49186 w 6983126"/>
              <a:gd name="connsiteY0" fmla="*/ 4184868 h 6082751"/>
              <a:gd name="connsiteX1" fmla="*/ 588915 w 6983126"/>
              <a:gd name="connsiteY1" fmla="*/ 2586365 h 6082751"/>
              <a:gd name="connsiteX2" fmla="*/ 820830 w 6983126"/>
              <a:gd name="connsiteY2" fmla="*/ 2308788 h 6082751"/>
              <a:gd name="connsiteX3" fmla="*/ 1105382 w 6983126"/>
              <a:gd name="connsiteY3" fmla="*/ 2137631 h 6082751"/>
              <a:gd name="connsiteX4" fmla="*/ 2375382 w 6983126"/>
              <a:gd name="connsiteY4" fmla="*/ 1782032 h 6082751"/>
              <a:gd name="connsiteX5" fmla="*/ 2714048 w 6983126"/>
              <a:gd name="connsiteY5" fmla="*/ 1485699 h 6082751"/>
              <a:gd name="connsiteX6" fmla="*/ 2747913 w 6983126"/>
              <a:gd name="connsiteY6" fmla="*/ 1147033 h 6082751"/>
              <a:gd name="connsiteX7" fmla="*/ 2693267 w 6983126"/>
              <a:gd name="connsiteY7" fmla="*/ 890946 h 6082751"/>
              <a:gd name="connsiteX8" fmla="*/ 2758520 w 6983126"/>
              <a:gd name="connsiteY8" fmla="*/ 44668 h 6082751"/>
              <a:gd name="connsiteX9" fmla="*/ 4737581 w 6983126"/>
              <a:gd name="connsiteY9" fmla="*/ 181833 h 6082751"/>
              <a:gd name="connsiteX10" fmla="*/ 5304848 w 6983126"/>
              <a:gd name="connsiteY10" fmla="*/ 588232 h 6082751"/>
              <a:gd name="connsiteX11" fmla="*/ 5614266 w 6983126"/>
              <a:gd name="connsiteY11" fmla="*/ 890946 h 6082751"/>
              <a:gd name="connsiteX12" fmla="*/ 5685848 w 6983126"/>
              <a:gd name="connsiteY12" fmla="*/ 1307900 h 6082751"/>
              <a:gd name="connsiteX13" fmla="*/ 6811915 w 6983126"/>
              <a:gd name="connsiteY13" fmla="*/ 1646566 h 6082751"/>
              <a:gd name="connsiteX14" fmla="*/ 6974920 w 6983126"/>
              <a:gd name="connsiteY14" fmla="*/ 2203669 h 6082751"/>
              <a:gd name="connsiteX15" fmla="*/ 6879647 w 6983126"/>
              <a:gd name="connsiteY15" fmla="*/ 3348366 h 6082751"/>
              <a:gd name="connsiteX16" fmla="*/ 6401667 w 6983126"/>
              <a:gd name="connsiteY16" fmla="*/ 3972814 h 6082751"/>
              <a:gd name="connsiteX17" fmla="*/ 5920369 w 6983126"/>
              <a:gd name="connsiteY17" fmla="*/ 4196204 h 6082751"/>
              <a:gd name="connsiteX18" fmla="*/ 5464410 w 6983126"/>
              <a:gd name="connsiteY18" fmla="*/ 4402791 h 6082751"/>
              <a:gd name="connsiteX19" fmla="*/ 5056769 w 6983126"/>
              <a:gd name="connsiteY19" fmla="*/ 5264306 h 6082751"/>
              <a:gd name="connsiteX20" fmla="*/ 4472569 w 6983126"/>
              <a:gd name="connsiteY20" fmla="*/ 5632280 h 6082751"/>
              <a:gd name="connsiteX21" fmla="*/ 3978373 w 6983126"/>
              <a:gd name="connsiteY21" fmla="*/ 5564935 h 6082751"/>
              <a:gd name="connsiteX22" fmla="*/ 3548339 w 6983126"/>
              <a:gd name="connsiteY22" fmla="*/ 5319795 h 6082751"/>
              <a:gd name="connsiteX23" fmla="*/ 2939451 w 6983126"/>
              <a:gd name="connsiteY23" fmla="*/ 5612742 h 6082751"/>
              <a:gd name="connsiteX24" fmla="*/ 2485508 w 6983126"/>
              <a:gd name="connsiteY24" fmla="*/ 5831573 h 6082751"/>
              <a:gd name="connsiteX25" fmla="*/ 1845238 w 6983126"/>
              <a:gd name="connsiteY25" fmla="*/ 5976289 h 6082751"/>
              <a:gd name="connsiteX26" fmla="*/ 1008401 w 6983126"/>
              <a:gd name="connsiteY26" fmla="*/ 6072549 h 6082751"/>
              <a:gd name="connsiteX27" fmla="*/ 212534 w 6983126"/>
              <a:gd name="connsiteY27" fmla="*/ 5725416 h 6082751"/>
              <a:gd name="connsiteX28" fmla="*/ 49186 w 6983126"/>
              <a:gd name="connsiteY28" fmla="*/ 4184868 h 6082751"/>
              <a:gd name="connsiteX0" fmla="*/ 49186 w 6983126"/>
              <a:gd name="connsiteY0" fmla="*/ 4184868 h 6092228"/>
              <a:gd name="connsiteX1" fmla="*/ 588915 w 6983126"/>
              <a:gd name="connsiteY1" fmla="*/ 2586365 h 6092228"/>
              <a:gd name="connsiteX2" fmla="*/ 820830 w 6983126"/>
              <a:gd name="connsiteY2" fmla="*/ 2308788 h 6092228"/>
              <a:gd name="connsiteX3" fmla="*/ 1105382 w 6983126"/>
              <a:gd name="connsiteY3" fmla="*/ 2137631 h 6092228"/>
              <a:gd name="connsiteX4" fmla="*/ 2375382 w 6983126"/>
              <a:gd name="connsiteY4" fmla="*/ 1782032 h 6092228"/>
              <a:gd name="connsiteX5" fmla="*/ 2714048 w 6983126"/>
              <a:gd name="connsiteY5" fmla="*/ 1485699 h 6092228"/>
              <a:gd name="connsiteX6" fmla="*/ 2747913 w 6983126"/>
              <a:gd name="connsiteY6" fmla="*/ 1147033 h 6092228"/>
              <a:gd name="connsiteX7" fmla="*/ 2693267 w 6983126"/>
              <a:gd name="connsiteY7" fmla="*/ 890946 h 6092228"/>
              <a:gd name="connsiteX8" fmla="*/ 2758520 w 6983126"/>
              <a:gd name="connsiteY8" fmla="*/ 44668 h 6092228"/>
              <a:gd name="connsiteX9" fmla="*/ 4737581 w 6983126"/>
              <a:gd name="connsiteY9" fmla="*/ 181833 h 6092228"/>
              <a:gd name="connsiteX10" fmla="*/ 5304848 w 6983126"/>
              <a:gd name="connsiteY10" fmla="*/ 588232 h 6092228"/>
              <a:gd name="connsiteX11" fmla="*/ 5614266 w 6983126"/>
              <a:gd name="connsiteY11" fmla="*/ 890946 h 6092228"/>
              <a:gd name="connsiteX12" fmla="*/ 5685848 w 6983126"/>
              <a:gd name="connsiteY12" fmla="*/ 1307900 h 6092228"/>
              <a:gd name="connsiteX13" fmla="*/ 6811915 w 6983126"/>
              <a:gd name="connsiteY13" fmla="*/ 1646566 h 6092228"/>
              <a:gd name="connsiteX14" fmla="*/ 6974920 w 6983126"/>
              <a:gd name="connsiteY14" fmla="*/ 2203669 h 6092228"/>
              <a:gd name="connsiteX15" fmla="*/ 6879647 w 6983126"/>
              <a:gd name="connsiteY15" fmla="*/ 3348366 h 6092228"/>
              <a:gd name="connsiteX16" fmla="*/ 6401667 w 6983126"/>
              <a:gd name="connsiteY16" fmla="*/ 3972814 h 6092228"/>
              <a:gd name="connsiteX17" fmla="*/ 5920369 w 6983126"/>
              <a:gd name="connsiteY17" fmla="*/ 4196204 h 6092228"/>
              <a:gd name="connsiteX18" fmla="*/ 5464410 w 6983126"/>
              <a:gd name="connsiteY18" fmla="*/ 4402791 h 6092228"/>
              <a:gd name="connsiteX19" fmla="*/ 5056769 w 6983126"/>
              <a:gd name="connsiteY19" fmla="*/ 5264306 h 6092228"/>
              <a:gd name="connsiteX20" fmla="*/ 4472569 w 6983126"/>
              <a:gd name="connsiteY20" fmla="*/ 5632280 h 6092228"/>
              <a:gd name="connsiteX21" fmla="*/ 3978373 w 6983126"/>
              <a:gd name="connsiteY21" fmla="*/ 5564935 h 6092228"/>
              <a:gd name="connsiteX22" fmla="*/ 3548339 w 6983126"/>
              <a:gd name="connsiteY22" fmla="*/ 5319795 h 6092228"/>
              <a:gd name="connsiteX23" fmla="*/ 2939451 w 6983126"/>
              <a:gd name="connsiteY23" fmla="*/ 5612742 h 6092228"/>
              <a:gd name="connsiteX24" fmla="*/ 2485508 w 6983126"/>
              <a:gd name="connsiteY24" fmla="*/ 5831573 h 6092228"/>
              <a:gd name="connsiteX25" fmla="*/ 1774900 w 6983126"/>
              <a:gd name="connsiteY25" fmla="*/ 6040766 h 6092228"/>
              <a:gd name="connsiteX26" fmla="*/ 1008401 w 6983126"/>
              <a:gd name="connsiteY26" fmla="*/ 6072549 h 6092228"/>
              <a:gd name="connsiteX27" fmla="*/ 212534 w 6983126"/>
              <a:gd name="connsiteY27" fmla="*/ 5725416 h 6092228"/>
              <a:gd name="connsiteX28" fmla="*/ 49186 w 6983126"/>
              <a:gd name="connsiteY28" fmla="*/ 4184868 h 6092228"/>
              <a:gd name="connsiteX0" fmla="*/ 49186 w 6983126"/>
              <a:gd name="connsiteY0" fmla="*/ 4184868 h 6052998"/>
              <a:gd name="connsiteX1" fmla="*/ 588915 w 6983126"/>
              <a:gd name="connsiteY1" fmla="*/ 2586365 h 6052998"/>
              <a:gd name="connsiteX2" fmla="*/ 820830 w 6983126"/>
              <a:gd name="connsiteY2" fmla="*/ 2308788 h 6052998"/>
              <a:gd name="connsiteX3" fmla="*/ 1105382 w 6983126"/>
              <a:gd name="connsiteY3" fmla="*/ 2137631 h 6052998"/>
              <a:gd name="connsiteX4" fmla="*/ 2375382 w 6983126"/>
              <a:gd name="connsiteY4" fmla="*/ 1782032 h 6052998"/>
              <a:gd name="connsiteX5" fmla="*/ 2714048 w 6983126"/>
              <a:gd name="connsiteY5" fmla="*/ 1485699 h 6052998"/>
              <a:gd name="connsiteX6" fmla="*/ 2747913 w 6983126"/>
              <a:gd name="connsiteY6" fmla="*/ 1147033 h 6052998"/>
              <a:gd name="connsiteX7" fmla="*/ 2693267 w 6983126"/>
              <a:gd name="connsiteY7" fmla="*/ 890946 h 6052998"/>
              <a:gd name="connsiteX8" fmla="*/ 2758520 w 6983126"/>
              <a:gd name="connsiteY8" fmla="*/ 44668 h 6052998"/>
              <a:gd name="connsiteX9" fmla="*/ 4737581 w 6983126"/>
              <a:gd name="connsiteY9" fmla="*/ 181833 h 6052998"/>
              <a:gd name="connsiteX10" fmla="*/ 5304848 w 6983126"/>
              <a:gd name="connsiteY10" fmla="*/ 588232 h 6052998"/>
              <a:gd name="connsiteX11" fmla="*/ 5614266 w 6983126"/>
              <a:gd name="connsiteY11" fmla="*/ 890946 h 6052998"/>
              <a:gd name="connsiteX12" fmla="*/ 5685848 w 6983126"/>
              <a:gd name="connsiteY12" fmla="*/ 1307900 h 6052998"/>
              <a:gd name="connsiteX13" fmla="*/ 6811915 w 6983126"/>
              <a:gd name="connsiteY13" fmla="*/ 1646566 h 6052998"/>
              <a:gd name="connsiteX14" fmla="*/ 6974920 w 6983126"/>
              <a:gd name="connsiteY14" fmla="*/ 2203669 h 6052998"/>
              <a:gd name="connsiteX15" fmla="*/ 6879647 w 6983126"/>
              <a:gd name="connsiteY15" fmla="*/ 3348366 h 6052998"/>
              <a:gd name="connsiteX16" fmla="*/ 6401667 w 6983126"/>
              <a:gd name="connsiteY16" fmla="*/ 3972814 h 6052998"/>
              <a:gd name="connsiteX17" fmla="*/ 5920369 w 6983126"/>
              <a:gd name="connsiteY17" fmla="*/ 4196204 h 6052998"/>
              <a:gd name="connsiteX18" fmla="*/ 5464410 w 6983126"/>
              <a:gd name="connsiteY18" fmla="*/ 4402791 h 6052998"/>
              <a:gd name="connsiteX19" fmla="*/ 5056769 w 6983126"/>
              <a:gd name="connsiteY19" fmla="*/ 5264306 h 6052998"/>
              <a:gd name="connsiteX20" fmla="*/ 4472569 w 6983126"/>
              <a:gd name="connsiteY20" fmla="*/ 5632280 h 6052998"/>
              <a:gd name="connsiteX21" fmla="*/ 3978373 w 6983126"/>
              <a:gd name="connsiteY21" fmla="*/ 5564935 h 6052998"/>
              <a:gd name="connsiteX22" fmla="*/ 3548339 w 6983126"/>
              <a:gd name="connsiteY22" fmla="*/ 5319795 h 6052998"/>
              <a:gd name="connsiteX23" fmla="*/ 2939451 w 6983126"/>
              <a:gd name="connsiteY23" fmla="*/ 5612742 h 6052998"/>
              <a:gd name="connsiteX24" fmla="*/ 2485508 w 6983126"/>
              <a:gd name="connsiteY24" fmla="*/ 5831573 h 6052998"/>
              <a:gd name="connsiteX25" fmla="*/ 1774900 w 6983126"/>
              <a:gd name="connsiteY25" fmla="*/ 6040766 h 6052998"/>
              <a:gd name="connsiteX26" fmla="*/ 1014263 w 6983126"/>
              <a:gd name="connsiteY26" fmla="*/ 5961180 h 6052998"/>
              <a:gd name="connsiteX27" fmla="*/ 212534 w 6983126"/>
              <a:gd name="connsiteY27" fmla="*/ 5725416 h 6052998"/>
              <a:gd name="connsiteX28" fmla="*/ 49186 w 6983126"/>
              <a:gd name="connsiteY28" fmla="*/ 4184868 h 6052998"/>
              <a:gd name="connsiteX0" fmla="*/ 49186 w 6983126"/>
              <a:gd name="connsiteY0" fmla="*/ 4184868 h 6096646"/>
              <a:gd name="connsiteX1" fmla="*/ 588915 w 6983126"/>
              <a:gd name="connsiteY1" fmla="*/ 2586365 h 6096646"/>
              <a:gd name="connsiteX2" fmla="*/ 820830 w 6983126"/>
              <a:gd name="connsiteY2" fmla="*/ 2308788 h 6096646"/>
              <a:gd name="connsiteX3" fmla="*/ 1105382 w 6983126"/>
              <a:gd name="connsiteY3" fmla="*/ 2137631 h 6096646"/>
              <a:gd name="connsiteX4" fmla="*/ 2375382 w 6983126"/>
              <a:gd name="connsiteY4" fmla="*/ 1782032 h 6096646"/>
              <a:gd name="connsiteX5" fmla="*/ 2714048 w 6983126"/>
              <a:gd name="connsiteY5" fmla="*/ 1485699 h 6096646"/>
              <a:gd name="connsiteX6" fmla="*/ 2747913 w 6983126"/>
              <a:gd name="connsiteY6" fmla="*/ 1147033 h 6096646"/>
              <a:gd name="connsiteX7" fmla="*/ 2693267 w 6983126"/>
              <a:gd name="connsiteY7" fmla="*/ 890946 h 6096646"/>
              <a:gd name="connsiteX8" fmla="*/ 2758520 w 6983126"/>
              <a:gd name="connsiteY8" fmla="*/ 44668 h 6096646"/>
              <a:gd name="connsiteX9" fmla="*/ 4737581 w 6983126"/>
              <a:gd name="connsiteY9" fmla="*/ 181833 h 6096646"/>
              <a:gd name="connsiteX10" fmla="*/ 5304848 w 6983126"/>
              <a:gd name="connsiteY10" fmla="*/ 588232 h 6096646"/>
              <a:gd name="connsiteX11" fmla="*/ 5614266 w 6983126"/>
              <a:gd name="connsiteY11" fmla="*/ 890946 h 6096646"/>
              <a:gd name="connsiteX12" fmla="*/ 5685848 w 6983126"/>
              <a:gd name="connsiteY12" fmla="*/ 1307900 h 6096646"/>
              <a:gd name="connsiteX13" fmla="*/ 6811915 w 6983126"/>
              <a:gd name="connsiteY13" fmla="*/ 1646566 h 6096646"/>
              <a:gd name="connsiteX14" fmla="*/ 6974920 w 6983126"/>
              <a:gd name="connsiteY14" fmla="*/ 2203669 h 6096646"/>
              <a:gd name="connsiteX15" fmla="*/ 6879647 w 6983126"/>
              <a:gd name="connsiteY15" fmla="*/ 3348366 h 6096646"/>
              <a:gd name="connsiteX16" fmla="*/ 6401667 w 6983126"/>
              <a:gd name="connsiteY16" fmla="*/ 3972814 h 6096646"/>
              <a:gd name="connsiteX17" fmla="*/ 5920369 w 6983126"/>
              <a:gd name="connsiteY17" fmla="*/ 4196204 h 6096646"/>
              <a:gd name="connsiteX18" fmla="*/ 5464410 w 6983126"/>
              <a:gd name="connsiteY18" fmla="*/ 4402791 h 6096646"/>
              <a:gd name="connsiteX19" fmla="*/ 5056769 w 6983126"/>
              <a:gd name="connsiteY19" fmla="*/ 5264306 h 6096646"/>
              <a:gd name="connsiteX20" fmla="*/ 4472569 w 6983126"/>
              <a:gd name="connsiteY20" fmla="*/ 5632280 h 6096646"/>
              <a:gd name="connsiteX21" fmla="*/ 3978373 w 6983126"/>
              <a:gd name="connsiteY21" fmla="*/ 5564935 h 6096646"/>
              <a:gd name="connsiteX22" fmla="*/ 3548339 w 6983126"/>
              <a:gd name="connsiteY22" fmla="*/ 5319795 h 6096646"/>
              <a:gd name="connsiteX23" fmla="*/ 2939451 w 6983126"/>
              <a:gd name="connsiteY23" fmla="*/ 5612742 h 6096646"/>
              <a:gd name="connsiteX24" fmla="*/ 2485508 w 6983126"/>
              <a:gd name="connsiteY24" fmla="*/ 5831573 h 6096646"/>
              <a:gd name="connsiteX25" fmla="*/ 1774900 w 6983126"/>
              <a:gd name="connsiteY25" fmla="*/ 6040766 h 6096646"/>
              <a:gd name="connsiteX26" fmla="*/ 1014263 w 6983126"/>
              <a:gd name="connsiteY26" fmla="*/ 6078411 h 6096646"/>
              <a:gd name="connsiteX27" fmla="*/ 212534 w 6983126"/>
              <a:gd name="connsiteY27" fmla="*/ 5725416 h 6096646"/>
              <a:gd name="connsiteX28" fmla="*/ 49186 w 6983126"/>
              <a:gd name="connsiteY28" fmla="*/ 4184868 h 6096646"/>
              <a:gd name="connsiteX0" fmla="*/ 49186 w 6983126"/>
              <a:gd name="connsiteY0" fmla="*/ 4184868 h 6096646"/>
              <a:gd name="connsiteX1" fmla="*/ 588915 w 6983126"/>
              <a:gd name="connsiteY1" fmla="*/ 2586365 h 6096646"/>
              <a:gd name="connsiteX2" fmla="*/ 820830 w 6983126"/>
              <a:gd name="connsiteY2" fmla="*/ 2308788 h 6096646"/>
              <a:gd name="connsiteX3" fmla="*/ 1105382 w 6983126"/>
              <a:gd name="connsiteY3" fmla="*/ 2137631 h 6096646"/>
              <a:gd name="connsiteX4" fmla="*/ 2375382 w 6983126"/>
              <a:gd name="connsiteY4" fmla="*/ 1782032 h 6096646"/>
              <a:gd name="connsiteX5" fmla="*/ 2714048 w 6983126"/>
              <a:gd name="connsiteY5" fmla="*/ 1485699 h 6096646"/>
              <a:gd name="connsiteX6" fmla="*/ 2747913 w 6983126"/>
              <a:gd name="connsiteY6" fmla="*/ 1147033 h 6096646"/>
              <a:gd name="connsiteX7" fmla="*/ 2693267 w 6983126"/>
              <a:gd name="connsiteY7" fmla="*/ 890946 h 6096646"/>
              <a:gd name="connsiteX8" fmla="*/ 2758520 w 6983126"/>
              <a:gd name="connsiteY8" fmla="*/ 44668 h 6096646"/>
              <a:gd name="connsiteX9" fmla="*/ 4737581 w 6983126"/>
              <a:gd name="connsiteY9" fmla="*/ 181833 h 6096646"/>
              <a:gd name="connsiteX10" fmla="*/ 5304848 w 6983126"/>
              <a:gd name="connsiteY10" fmla="*/ 588232 h 6096646"/>
              <a:gd name="connsiteX11" fmla="*/ 5614266 w 6983126"/>
              <a:gd name="connsiteY11" fmla="*/ 890946 h 6096646"/>
              <a:gd name="connsiteX12" fmla="*/ 5685848 w 6983126"/>
              <a:gd name="connsiteY12" fmla="*/ 1307900 h 6096646"/>
              <a:gd name="connsiteX13" fmla="*/ 6811915 w 6983126"/>
              <a:gd name="connsiteY13" fmla="*/ 1646566 h 6096646"/>
              <a:gd name="connsiteX14" fmla="*/ 6974920 w 6983126"/>
              <a:gd name="connsiteY14" fmla="*/ 2203669 h 6096646"/>
              <a:gd name="connsiteX15" fmla="*/ 6879647 w 6983126"/>
              <a:gd name="connsiteY15" fmla="*/ 3348366 h 6096646"/>
              <a:gd name="connsiteX16" fmla="*/ 6401667 w 6983126"/>
              <a:gd name="connsiteY16" fmla="*/ 3972814 h 6096646"/>
              <a:gd name="connsiteX17" fmla="*/ 5920369 w 6983126"/>
              <a:gd name="connsiteY17" fmla="*/ 4196204 h 6096646"/>
              <a:gd name="connsiteX18" fmla="*/ 5464410 w 6983126"/>
              <a:gd name="connsiteY18" fmla="*/ 4402791 h 6096646"/>
              <a:gd name="connsiteX19" fmla="*/ 5056769 w 6983126"/>
              <a:gd name="connsiteY19" fmla="*/ 5264306 h 6096646"/>
              <a:gd name="connsiteX20" fmla="*/ 4472569 w 6983126"/>
              <a:gd name="connsiteY20" fmla="*/ 5632280 h 6096646"/>
              <a:gd name="connsiteX21" fmla="*/ 4083881 w 6983126"/>
              <a:gd name="connsiteY21" fmla="*/ 5559074 h 6096646"/>
              <a:gd name="connsiteX22" fmla="*/ 3548339 w 6983126"/>
              <a:gd name="connsiteY22" fmla="*/ 5319795 h 6096646"/>
              <a:gd name="connsiteX23" fmla="*/ 2939451 w 6983126"/>
              <a:gd name="connsiteY23" fmla="*/ 5612742 h 6096646"/>
              <a:gd name="connsiteX24" fmla="*/ 2485508 w 6983126"/>
              <a:gd name="connsiteY24" fmla="*/ 5831573 h 6096646"/>
              <a:gd name="connsiteX25" fmla="*/ 1774900 w 6983126"/>
              <a:gd name="connsiteY25" fmla="*/ 6040766 h 6096646"/>
              <a:gd name="connsiteX26" fmla="*/ 1014263 w 6983126"/>
              <a:gd name="connsiteY26" fmla="*/ 6078411 h 6096646"/>
              <a:gd name="connsiteX27" fmla="*/ 212534 w 6983126"/>
              <a:gd name="connsiteY27" fmla="*/ 5725416 h 6096646"/>
              <a:gd name="connsiteX28" fmla="*/ 49186 w 6983126"/>
              <a:gd name="connsiteY28" fmla="*/ 4184868 h 6096646"/>
              <a:gd name="connsiteX0" fmla="*/ 49186 w 6983126"/>
              <a:gd name="connsiteY0" fmla="*/ 4184868 h 6096646"/>
              <a:gd name="connsiteX1" fmla="*/ 588915 w 6983126"/>
              <a:gd name="connsiteY1" fmla="*/ 2586365 h 6096646"/>
              <a:gd name="connsiteX2" fmla="*/ 820830 w 6983126"/>
              <a:gd name="connsiteY2" fmla="*/ 2308788 h 6096646"/>
              <a:gd name="connsiteX3" fmla="*/ 1105382 w 6983126"/>
              <a:gd name="connsiteY3" fmla="*/ 2137631 h 6096646"/>
              <a:gd name="connsiteX4" fmla="*/ 2375382 w 6983126"/>
              <a:gd name="connsiteY4" fmla="*/ 1782032 h 6096646"/>
              <a:gd name="connsiteX5" fmla="*/ 2714048 w 6983126"/>
              <a:gd name="connsiteY5" fmla="*/ 1485699 h 6096646"/>
              <a:gd name="connsiteX6" fmla="*/ 2747913 w 6983126"/>
              <a:gd name="connsiteY6" fmla="*/ 1147033 h 6096646"/>
              <a:gd name="connsiteX7" fmla="*/ 2693267 w 6983126"/>
              <a:gd name="connsiteY7" fmla="*/ 890946 h 6096646"/>
              <a:gd name="connsiteX8" fmla="*/ 2758520 w 6983126"/>
              <a:gd name="connsiteY8" fmla="*/ 44668 h 6096646"/>
              <a:gd name="connsiteX9" fmla="*/ 4737581 w 6983126"/>
              <a:gd name="connsiteY9" fmla="*/ 181833 h 6096646"/>
              <a:gd name="connsiteX10" fmla="*/ 5304848 w 6983126"/>
              <a:gd name="connsiteY10" fmla="*/ 588232 h 6096646"/>
              <a:gd name="connsiteX11" fmla="*/ 5614266 w 6983126"/>
              <a:gd name="connsiteY11" fmla="*/ 890946 h 6096646"/>
              <a:gd name="connsiteX12" fmla="*/ 5685848 w 6983126"/>
              <a:gd name="connsiteY12" fmla="*/ 1307900 h 6096646"/>
              <a:gd name="connsiteX13" fmla="*/ 6811915 w 6983126"/>
              <a:gd name="connsiteY13" fmla="*/ 1646566 h 6096646"/>
              <a:gd name="connsiteX14" fmla="*/ 6974920 w 6983126"/>
              <a:gd name="connsiteY14" fmla="*/ 2203669 h 6096646"/>
              <a:gd name="connsiteX15" fmla="*/ 6879647 w 6983126"/>
              <a:gd name="connsiteY15" fmla="*/ 3348366 h 6096646"/>
              <a:gd name="connsiteX16" fmla="*/ 6401667 w 6983126"/>
              <a:gd name="connsiteY16" fmla="*/ 3972814 h 6096646"/>
              <a:gd name="connsiteX17" fmla="*/ 5920369 w 6983126"/>
              <a:gd name="connsiteY17" fmla="*/ 4196204 h 6096646"/>
              <a:gd name="connsiteX18" fmla="*/ 5464410 w 6983126"/>
              <a:gd name="connsiteY18" fmla="*/ 4402791 h 6096646"/>
              <a:gd name="connsiteX19" fmla="*/ 5056769 w 6983126"/>
              <a:gd name="connsiteY19" fmla="*/ 5264306 h 6096646"/>
              <a:gd name="connsiteX20" fmla="*/ 4472569 w 6983126"/>
              <a:gd name="connsiteY20" fmla="*/ 5632280 h 6096646"/>
              <a:gd name="connsiteX21" fmla="*/ 4007681 w 6983126"/>
              <a:gd name="connsiteY21" fmla="*/ 5582521 h 6096646"/>
              <a:gd name="connsiteX22" fmla="*/ 3548339 w 6983126"/>
              <a:gd name="connsiteY22" fmla="*/ 5319795 h 6096646"/>
              <a:gd name="connsiteX23" fmla="*/ 2939451 w 6983126"/>
              <a:gd name="connsiteY23" fmla="*/ 5612742 h 6096646"/>
              <a:gd name="connsiteX24" fmla="*/ 2485508 w 6983126"/>
              <a:gd name="connsiteY24" fmla="*/ 5831573 h 6096646"/>
              <a:gd name="connsiteX25" fmla="*/ 1774900 w 6983126"/>
              <a:gd name="connsiteY25" fmla="*/ 6040766 h 6096646"/>
              <a:gd name="connsiteX26" fmla="*/ 1014263 w 6983126"/>
              <a:gd name="connsiteY26" fmla="*/ 6078411 h 6096646"/>
              <a:gd name="connsiteX27" fmla="*/ 212534 w 6983126"/>
              <a:gd name="connsiteY27" fmla="*/ 5725416 h 6096646"/>
              <a:gd name="connsiteX28" fmla="*/ 49186 w 6983126"/>
              <a:gd name="connsiteY28" fmla="*/ 4184868 h 6096646"/>
              <a:gd name="connsiteX0" fmla="*/ 49186 w 6983126"/>
              <a:gd name="connsiteY0" fmla="*/ 4184868 h 6096646"/>
              <a:gd name="connsiteX1" fmla="*/ 588915 w 6983126"/>
              <a:gd name="connsiteY1" fmla="*/ 2586365 h 6096646"/>
              <a:gd name="connsiteX2" fmla="*/ 820830 w 6983126"/>
              <a:gd name="connsiteY2" fmla="*/ 2308788 h 6096646"/>
              <a:gd name="connsiteX3" fmla="*/ 1105382 w 6983126"/>
              <a:gd name="connsiteY3" fmla="*/ 2137631 h 6096646"/>
              <a:gd name="connsiteX4" fmla="*/ 2375382 w 6983126"/>
              <a:gd name="connsiteY4" fmla="*/ 1782032 h 6096646"/>
              <a:gd name="connsiteX5" fmla="*/ 2714048 w 6983126"/>
              <a:gd name="connsiteY5" fmla="*/ 1485699 h 6096646"/>
              <a:gd name="connsiteX6" fmla="*/ 2747913 w 6983126"/>
              <a:gd name="connsiteY6" fmla="*/ 1147033 h 6096646"/>
              <a:gd name="connsiteX7" fmla="*/ 2693267 w 6983126"/>
              <a:gd name="connsiteY7" fmla="*/ 890946 h 6096646"/>
              <a:gd name="connsiteX8" fmla="*/ 2758520 w 6983126"/>
              <a:gd name="connsiteY8" fmla="*/ 44668 h 6096646"/>
              <a:gd name="connsiteX9" fmla="*/ 4737581 w 6983126"/>
              <a:gd name="connsiteY9" fmla="*/ 181833 h 6096646"/>
              <a:gd name="connsiteX10" fmla="*/ 5304848 w 6983126"/>
              <a:gd name="connsiteY10" fmla="*/ 588232 h 6096646"/>
              <a:gd name="connsiteX11" fmla="*/ 5614266 w 6983126"/>
              <a:gd name="connsiteY11" fmla="*/ 890946 h 6096646"/>
              <a:gd name="connsiteX12" fmla="*/ 5685848 w 6983126"/>
              <a:gd name="connsiteY12" fmla="*/ 1307900 h 6096646"/>
              <a:gd name="connsiteX13" fmla="*/ 6811915 w 6983126"/>
              <a:gd name="connsiteY13" fmla="*/ 1646566 h 6096646"/>
              <a:gd name="connsiteX14" fmla="*/ 6974920 w 6983126"/>
              <a:gd name="connsiteY14" fmla="*/ 2203669 h 6096646"/>
              <a:gd name="connsiteX15" fmla="*/ 6879647 w 6983126"/>
              <a:gd name="connsiteY15" fmla="*/ 3348366 h 6096646"/>
              <a:gd name="connsiteX16" fmla="*/ 6401667 w 6983126"/>
              <a:gd name="connsiteY16" fmla="*/ 3972814 h 6096646"/>
              <a:gd name="connsiteX17" fmla="*/ 5920369 w 6983126"/>
              <a:gd name="connsiteY17" fmla="*/ 4196204 h 6096646"/>
              <a:gd name="connsiteX18" fmla="*/ 5464410 w 6983126"/>
              <a:gd name="connsiteY18" fmla="*/ 4402791 h 6096646"/>
              <a:gd name="connsiteX19" fmla="*/ 5056769 w 6983126"/>
              <a:gd name="connsiteY19" fmla="*/ 5264306 h 6096646"/>
              <a:gd name="connsiteX20" fmla="*/ 4466707 w 6983126"/>
              <a:gd name="connsiteY20" fmla="*/ 5567803 h 6096646"/>
              <a:gd name="connsiteX21" fmla="*/ 4007681 w 6983126"/>
              <a:gd name="connsiteY21" fmla="*/ 5582521 h 6096646"/>
              <a:gd name="connsiteX22" fmla="*/ 3548339 w 6983126"/>
              <a:gd name="connsiteY22" fmla="*/ 5319795 h 6096646"/>
              <a:gd name="connsiteX23" fmla="*/ 2939451 w 6983126"/>
              <a:gd name="connsiteY23" fmla="*/ 5612742 h 6096646"/>
              <a:gd name="connsiteX24" fmla="*/ 2485508 w 6983126"/>
              <a:gd name="connsiteY24" fmla="*/ 5831573 h 6096646"/>
              <a:gd name="connsiteX25" fmla="*/ 1774900 w 6983126"/>
              <a:gd name="connsiteY25" fmla="*/ 6040766 h 6096646"/>
              <a:gd name="connsiteX26" fmla="*/ 1014263 w 6983126"/>
              <a:gd name="connsiteY26" fmla="*/ 6078411 h 6096646"/>
              <a:gd name="connsiteX27" fmla="*/ 212534 w 6983126"/>
              <a:gd name="connsiteY27" fmla="*/ 5725416 h 6096646"/>
              <a:gd name="connsiteX28" fmla="*/ 49186 w 6983126"/>
              <a:gd name="connsiteY28" fmla="*/ 4184868 h 6096646"/>
              <a:gd name="connsiteX0" fmla="*/ 49186 w 6983126"/>
              <a:gd name="connsiteY0" fmla="*/ 4184868 h 6096646"/>
              <a:gd name="connsiteX1" fmla="*/ 588915 w 6983126"/>
              <a:gd name="connsiteY1" fmla="*/ 2586365 h 6096646"/>
              <a:gd name="connsiteX2" fmla="*/ 820830 w 6983126"/>
              <a:gd name="connsiteY2" fmla="*/ 2308788 h 6096646"/>
              <a:gd name="connsiteX3" fmla="*/ 1105382 w 6983126"/>
              <a:gd name="connsiteY3" fmla="*/ 2137631 h 6096646"/>
              <a:gd name="connsiteX4" fmla="*/ 2375382 w 6983126"/>
              <a:gd name="connsiteY4" fmla="*/ 1782032 h 6096646"/>
              <a:gd name="connsiteX5" fmla="*/ 2714048 w 6983126"/>
              <a:gd name="connsiteY5" fmla="*/ 1485699 h 6096646"/>
              <a:gd name="connsiteX6" fmla="*/ 2747913 w 6983126"/>
              <a:gd name="connsiteY6" fmla="*/ 1147033 h 6096646"/>
              <a:gd name="connsiteX7" fmla="*/ 2693267 w 6983126"/>
              <a:gd name="connsiteY7" fmla="*/ 890946 h 6096646"/>
              <a:gd name="connsiteX8" fmla="*/ 2758520 w 6983126"/>
              <a:gd name="connsiteY8" fmla="*/ 44668 h 6096646"/>
              <a:gd name="connsiteX9" fmla="*/ 4737581 w 6983126"/>
              <a:gd name="connsiteY9" fmla="*/ 181833 h 6096646"/>
              <a:gd name="connsiteX10" fmla="*/ 5304848 w 6983126"/>
              <a:gd name="connsiteY10" fmla="*/ 588232 h 6096646"/>
              <a:gd name="connsiteX11" fmla="*/ 5614266 w 6983126"/>
              <a:gd name="connsiteY11" fmla="*/ 890946 h 6096646"/>
              <a:gd name="connsiteX12" fmla="*/ 5685848 w 6983126"/>
              <a:gd name="connsiteY12" fmla="*/ 1307900 h 6096646"/>
              <a:gd name="connsiteX13" fmla="*/ 6811915 w 6983126"/>
              <a:gd name="connsiteY13" fmla="*/ 1646566 h 6096646"/>
              <a:gd name="connsiteX14" fmla="*/ 6974920 w 6983126"/>
              <a:gd name="connsiteY14" fmla="*/ 2203669 h 6096646"/>
              <a:gd name="connsiteX15" fmla="*/ 6879647 w 6983126"/>
              <a:gd name="connsiteY15" fmla="*/ 3348366 h 6096646"/>
              <a:gd name="connsiteX16" fmla="*/ 6401667 w 6983126"/>
              <a:gd name="connsiteY16" fmla="*/ 3972814 h 6096646"/>
              <a:gd name="connsiteX17" fmla="*/ 5920369 w 6983126"/>
              <a:gd name="connsiteY17" fmla="*/ 4196204 h 6096646"/>
              <a:gd name="connsiteX18" fmla="*/ 5464410 w 6983126"/>
              <a:gd name="connsiteY18" fmla="*/ 4402791 h 6096646"/>
              <a:gd name="connsiteX19" fmla="*/ 5056769 w 6983126"/>
              <a:gd name="connsiteY19" fmla="*/ 5264306 h 6096646"/>
              <a:gd name="connsiteX20" fmla="*/ 4431538 w 6983126"/>
              <a:gd name="connsiteY20" fmla="*/ 5391956 h 6096646"/>
              <a:gd name="connsiteX21" fmla="*/ 4007681 w 6983126"/>
              <a:gd name="connsiteY21" fmla="*/ 5582521 h 6096646"/>
              <a:gd name="connsiteX22" fmla="*/ 3548339 w 6983126"/>
              <a:gd name="connsiteY22" fmla="*/ 5319795 h 6096646"/>
              <a:gd name="connsiteX23" fmla="*/ 2939451 w 6983126"/>
              <a:gd name="connsiteY23" fmla="*/ 5612742 h 6096646"/>
              <a:gd name="connsiteX24" fmla="*/ 2485508 w 6983126"/>
              <a:gd name="connsiteY24" fmla="*/ 5831573 h 6096646"/>
              <a:gd name="connsiteX25" fmla="*/ 1774900 w 6983126"/>
              <a:gd name="connsiteY25" fmla="*/ 6040766 h 6096646"/>
              <a:gd name="connsiteX26" fmla="*/ 1014263 w 6983126"/>
              <a:gd name="connsiteY26" fmla="*/ 6078411 h 6096646"/>
              <a:gd name="connsiteX27" fmla="*/ 212534 w 6983126"/>
              <a:gd name="connsiteY27" fmla="*/ 5725416 h 6096646"/>
              <a:gd name="connsiteX28" fmla="*/ 49186 w 6983126"/>
              <a:gd name="connsiteY28" fmla="*/ 4184868 h 6096646"/>
              <a:gd name="connsiteX0" fmla="*/ 49186 w 6983126"/>
              <a:gd name="connsiteY0" fmla="*/ 4184868 h 6096646"/>
              <a:gd name="connsiteX1" fmla="*/ 588915 w 6983126"/>
              <a:gd name="connsiteY1" fmla="*/ 2586365 h 6096646"/>
              <a:gd name="connsiteX2" fmla="*/ 820830 w 6983126"/>
              <a:gd name="connsiteY2" fmla="*/ 2308788 h 6096646"/>
              <a:gd name="connsiteX3" fmla="*/ 1105382 w 6983126"/>
              <a:gd name="connsiteY3" fmla="*/ 2137631 h 6096646"/>
              <a:gd name="connsiteX4" fmla="*/ 2375382 w 6983126"/>
              <a:gd name="connsiteY4" fmla="*/ 1782032 h 6096646"/>
              <a:gd name="connsiteX5" fmla="*/ 2714048 w 6983126"/>
              <a:gd name="connsiteY5" fmla="*/ 1485699 h 6096646"/>
              <a:gd name="connsiteX6" fmla="*/ 2747913 w 6983126"/>
              <a:gd name="connsiteY6" fmla="*/ 1147033 h 6096646"/>
              <a:gd name="connsiteX7" fmla="*/ 2693267 w 6983126"/>
              <a:gd name="connsiteY7" fmla="*/ 890946 h 6096646"/>
              <a:gd name="connsiteX8" fmla="*/ 2758520 w 6983126"/>
              <a:gd name="connsiteY8" fmla="*/ 44668 h 6096646"/>
              <a:gd name="connsiteX9" fmla="*/ 4737581 w 6983126"/>
              <a:gd name="connsiteY9" fmla="*/ 181833 h 6096646"/>
              <a:gd name="connsiteX10" fmla="*/ 5304848 w 6983126"/>
              <a:gd name="connsiteY10" fmla="*/ 588232 h 6096646"/>
              <a:gd name="connsiteX11" fmla="*/ 5614266 w 6983126"/>
              <a:gd name="connsiteY11" fmla="*/ 890946 h 6096646"/>
              <a:gd name="connsiteX12" fmla="*/ 5685848 w 6983126"/>
              <a:gd name="connsiteY12" fmla="*/ 1307900 h 6096646"/>
              <a:gd name="connsiteX13" fmla="*/ 6811915 w 6983126"/>
              <a:gd name="connsiteY13" fmla="*/ 1646566 h 6096646"/>
              <a:gd name="connsiteX14" fmla="*/ 6974920 w 6983126"/>
              <a:gd name="connsiteY14" fmla="*/ 2203669 h 6096646"/>
              <a:gd name="connsiteX15" fmla="*/ 6879647 w 6983126"/>
              <a:gd name="connsiteY15" fmla="*/ 3348366 h 6096646"/>
              <a:gd name="connsiteX16" fmla="*/ 6401667 w 6983126"/>
              <a:gd name="connsiteY16" fmla="*/ 3972814 h 6096646"/>
              <a:gd name="connsiteX17" fmla="*/ 5920369 w 6983126"/>
              <a:gd name="connsiteY17" fmla="*/ 4196204 h 6096646"/>
              <a:gd name="connsiteX18" fmla="*/ 5464410 w 6983126"/>
              <a:gd name="connsiteY18" fmla="*/ 4402791 h 6096646"/>
              <a:gd name="connsiteX19" fmla="*/ 5056769 w 6983126"/>
              <a:gd name="connsiteY19" fmla="*/ 5264306 h 6096646"/>
              <a:gd name="connsiteX20" fmla="*/ 4449123 w 6983126"/>
              <a:gd name="connsiteY20" fmla="*/ 5614694 h 6096646"/>
              <a:gd name="connsiteX21" fmla="*/ 4007681 w 6983126"/>
              <a:gd name="connsiteY21" fmla="*/ 5582521 h 6096646"/>
              <a:gd name="connsiteX22" fmla="*/ 3548339 w 6983126"/>
              <a:gd name="connsiteY22" fmla="*/ 5319795 h 6096646"/>
              <a:gd name="connsiteX23" fmla="*/ 2939451 w 6983126"/>
              <a:gd name="connsiteY23" fmla="*/ 5612742 h 6096646"/>
              <a:gd name="connsiteX24" fmla="*/ 2485508 w 6983126"/>
              <a:gd name="connsiteY24" fmla="*/ 5831573 h 6096646"/>
              <a:gd name="connsiteX25" fmla="*/ 1774900 w 6983126"/>
              <a:gd name="connsiteY25" fmla="*/ 6040766 h 6096646"/>
              <a:gd name="connsiteX26" fmla="*/ 1014263 w 6983126"/>
              <a:gd name="connsiteY26" fmla="*/ 6078411 h 6096646"/>
              <a:gd name="connsiteX27" fmla="*/ 212534 w 6983126"/>
              <a:gd name="connsiteY27" fmla="*/ 5725416 h 6096646"/>
              <a:gd name="connsiteX28" fmla="*/ 49186 w 6983126"/>
              <a:gd name="connsiteY28" fmla="*/ 4184868 h 6096646"/>
              <a:gd name="connsiteX0" fmla="*/ 49186 w 6983126"/>
              <a:gd name="connsiteY0" fmla="*/ 4184868 h 6096646"/>
              <a:gd name="connsiteX1" fmla="*/ 588915 w 6983126"/>
              <a:gd name="connsiteY1" fmla="*/ 2586365 h 6096646"/>
              <a:gd name="connsiteX2" fmla="*/ 820830 w 6983126"/>
              <a:gd name="connsiteY2" fmla="*/ 2308788 h 6096646"/>
              <a:gd name="connsiteX3" fmla="*/ 1105382 w 6983126"/>
              <a:gd name="connsiteY3" fmla="*/ 2137631 h 6096646"/>
              <a:gd name="connsiteX4" fmla="*/ 2375382 w 6983126"/>
              <a:gd name="connsiteY4" fmla="*/ 1782032 h 6096646"/>
              <a:gd name="connsiteX5" fmla="*/ 2714048 w 6983126"/>
              <a:gd name="connsiteY5" fmla="*/ 1485699 h 6096646"/>
              <a:gd name="connsiteX6" fmla="*/ 2747913 w 6983126"/>
              <a:gd name="connsiteY6" fmla="*/ 1147033 h 6096646"/>
              <a:gd name="connsiteX7" fmla="*/ 2693267 w 6983126"/>
              <a:gd name="connsiteY7" fmla="*/ 890946 h 6096646"/>
              <a:gd name="connsiteX8" fmla="*/ 2758520 w 6983126"/>
              <a:gd name="connsiteY8" fmla="*/ 44668 h 6096646"/>
              <a:gd name="connsiteX9" fmla="*/ 4737581 w 6983126"/>
              <a:gd name="connsiteY9" fmla="*/ 181833 h 6096646"/>
              <a:gd name="connsiteX10" fmla="*/ 5304848 w 6983126"/>
              <a:gd name="connsiteY10" fmla="*/ 588232 h 6096646"/>
              <a:gd name="connsiteX11" fmla="*/ 5614266 w 6983126"/>
              <a:gd name="connsiteY11" fmla="*/ 890946 h 6096646"/>
              <a:gd name="connsiteX12" fmla="*/ 5685848 w 6983126"/>
              <a:gd name="connsiteY12" fmla="*/ 1307900 h 6096646"/>
              <a:gd name="connsiteX13" fmla="*/ 6811915 w 6983126"/>
              <a:gd name="connsiteY13" fmla="*/ 1646566 h 6096646"/>
              <a:gd name="connsiteX14" fmla="*/ 6974920 w 6983126"/>
              <a:gd name="connsiteY14" fmla="*/ 2203669 h 6096646"/>
              <a:gd name="connsiteX15" fmla="*/ 6879647 w 6983126"/>
              <a:gd name="connsiteY15" fmla="*/ 3348366 h 6096646"/>
              <a:gd name="connsiteX16" fmla="*/ 6401667 w 6983126"/>
              <a:gd name="connsiteY16" fmla="*/ 3972814 h 6096646"/>
              <a:gd name="connsiteX17" fmla="*/ 5920369 w 6983126"/>
              <a:gd name="connsiteY17" fmla="*/ 4196204 h 6096646"/>
              <a:gd name="connsiteX18" fmla="*/ 5464410 w 6983126"/>
              <a:gd name="connsiteY18" fmla="*/ 4402791 h 6096646"/>
              <a:gd name="connsiteX19" fmla="*/ 4968846 w 6983126"/>
              <a:gd name="connsiteY19" fmla="*/ 5164660 h 6096646"/>
              <a:gd name="connsiteX20" fmla="*/ 4449123 w 6983126"/>
              <a:gd name="connsiteY20" fmla="*/ 5614694 h 6096646"/>
              <a:gd name="connsiteX21" fmla="*/ 4007681 w 6983126"/>
              <a:gd name="connsiteY21" fmla="*/ 5582521 h 6096646"/>
              <a:gd name="connsiteX22" fmla="*/ 3548339 w 6983126"/>
              <a:gd name="connsiteY22" fmla="*/ 5319795 h 6096646"/>
              <a:gd name="connsiteX23" fmla="*/ 2939451 w 6983126"/>
              <a:gd name="connsiteY23" fmla="*/ 5612742 h 6096646"/>
              <a:gd name="connsiteX24" fmla="*/ 2485508 w 6983126"/>
              <a:gd name="connsiteY24" fmla="*/ 5831573 h 6096646"/>
              <a:gd name="connsiteX25" fmla="*/ 1774900 w 6983126"/>
              <a:gd name="connsiteY25" fmla="*/ 6040766 h 6096646"/>
              <a:gd name="connsiteX26" fmla="*/ 1014263 w 6983126"/>
              <a:gd name="connsiteY26" fmla="*/ 6078411 h 6096646"/>
              <a:gd name="connsiteX27" fmla="*/ 212534 w 6983126"/>
              <a:gd name="connsiteY27" fmla="*/ 5725416 h 6096646"/>
              <a:gd name="connsiteX28" fmla="*/ 49186 w 6983126"/>
              <a:gd name="connsiteY28" fmla="*/ 4184868 h 6096646"/>
              <a:gd name="connsiteX0" fmla="*/ 49186 w 6983126"/>
              <a:gd name="connsiteY0" fmla="*/ 4184868 h 6096646"/>
              <a:gd name="connsiteX1" fmla="*/ 588915 w 6983126"/>
              <a:gd name="connsiteY1" fmla="*/ 2586365 h 6096646"/>
              <a:gd name="connsiteX2" fmla="*/ 820830 w 6983126"/>
              <a:gd name="connsiteY2" fmla="*/ 2308788 h 6096646"/>
              <a:gd name="connsiteX3" fmla="*/ 1105382 w 6983126"/>
              <a:gd name="connsiteY3" fmla="*/ 2137631 h 6096646"/>
              <a:gd name="connsiteX4" fmla="*/ 2375382 w 6983126"/>
              <a:gd name="connsiteY4" fmla="*/ 1782032 h 6096646"/>
              <a:gd name="connsiteX5" fmla="*/ 2714048 w 6983126"/>
              <a:gd name="connsiteY5" fmla="*/ 1485699 h 6096646"/>
              <a:gd name="connsiteX6" fmla="*/ 2747913 w 6983126"/>
              <a:gd name="connsiteY6" fmla="*/ 1147033 h 6096646"/>
              <a:gd name="connsiteX7" fmla="*/ 2693267 w 6983126"/>
              <a:gd name="connsiteY7" fmla="*/ 890946 h 6096646"/>
              <a:gd name="connsiteX8" fmla="*/ 2758520 w 6983126"/>
              <a:gd name="connsiteY8" fmla="*/ 44668 h 6096646"/>
              <a:gd name="connsiteX9" fmla="*/ 4737581 w 6983126"/>
              <a:gd name="connsiteY9" fmla="*/ 181833 h 6096646"/>
              <a:gd name="connsiteX10" fmla="*/ 5304848 w 6983126"/>
              <a:gd name="connsiteY10" fmla="*/ 588232 h 6096646"/>
              <a:gd name="connsiteX11" fmla="*/ 5614266 w 6983126"/>
              <a:gd name="connsiteY11" fmla="*/ 890946 h 6096646"/>
              <a:gd name="connsiteX12" fmla="*/ 5685848 w 6983126"/>
              <a:gd name="connsiteY12" fmla="*/ 1307900 h 6096646"/>
              <a:gd name="connsiteX13" fmla="*/ 6811915 w 6983126"/>
              <a:gd name="connsiteY13" fmla="*/ 1646566 h 6096646"/>
              <a:gd name="connsiteX14" fmla="*/ 6974920 w 6983126"/>
              <a:gd name="connsiteY14" fmla="*/ 2203669 h 6096646"/>
              <a:gd name="connsiteX15" fmla="*/ 6879647 w 6983126"/>
              <a:gd name="connsiteY15" fmla="*/ 3348366 h 6096646"/>
              <a:gd name="connsiteX16" fmla="*/ 6401667 w 6983126"/>
              <a:gd name="connsiteY16" fmla="*/ 3972814 h 6096646"/>
              <a:gd name="connsiteX17" fmla="*/ 5920369 w 6983126"/>
              <a:gd name="connsiteY17" fmla="*/ 4196204 h 6096646"/>
              <a:gd name="connsiteX18" fmla="*/ 5464410 w 6983126"/>
              <a:gd name="connsiteY18" fmla="*/ 4402791 h 6096646"/>
              <a:gd name="connsiteX19" fmla="*/ 5021600 w 6983126"/>
              <a:gd name="connsiteY19" fmla="*/ 5281891 h 6096646"/>
              <a:gd name="connsiteX20" fmla="*/ 4449123 w 6983126"/>
              <a:gd name="connsiteY20" fmla="*/ 5614694 h 6096646"/>
              <a:gd name="connsiteX21" fmla="*/ 4007681 w 6983126"/>
              <a:gd name="connsiteY21" fmla="*/ 5582521 h 6096646"/>
              <a:gd name="connsiteX22" fmla="*/ 3548339 w 6983126"/>
              <a:gd name="connsiteY22" fmla="*/ 5319795 h 6096646"/>
              <a:gd name="connsiteX23" fmla="*/ 2939451 w 6983126"/>
              <a:gd name="connsiteY23" fmla="*/ 5612742 h 6096646"/>
              <a:gd name="connsiteX24" fmla="*/ 2485508 w 6983126"/>
              <a:gd name="connsiteY24" fmla="*/ 5831573 h 6096646"/>
              <a:gd name="connsiteX25" fmla="*/ 1774900 w 6983126"/>
              <a:gd name="connsiteY25" fmla="*/ 6040766 h 6096646"/>
              <a:gd name="connsiteX26" fmla="*/ 1014263 w 6983126"/>
              <a:gd name="connsiteY26" fmla="*/ 6078411 h 6096646"/>
              <a:gd name="connsiteX27" fmla="*/ 212534 w 6983126"/>
              <a:gd name="connsiteY27" fmla="*/ 5725416 h 6096646"/>
              <a:gd name="connsiteX28" fmla="*/ 49186 w 6983126"/>
              <a:gd name="connsiteY28" fmla="*/ 4184868 h 6096646"/>
              <a:gd name="connsiteX0" fmla="*/ 49186 w 6983126"/>
              <a:gd name="connsiteY0" fmla="*/ 4184868 h 6096646"/>
              <a:gd name="connsiteX1" fmla="*/ 588915 w 6983126"/>
              <a:gd name="connsiteY1" fmla="*/ 2586365 h 6096646"/>
              <a:gd name="connsiteX2" fmla="*/ 820830 w 6983126"/>
              <a:gd name="connsiteY2" fmla="*/ 2308788 h 6096646"/>
              <a:gd name="connsiteX3" fmla="*/ 1105382 w 6983126"/>
              <a:gd name="connsiteY3" fmla="*/ 2137631 h 6096646"/>
              <a:gd name="connsiteX4" fmla="*/ 2375382 w 6983126"/>
              <a:gd name="connsiteY4" fmla="*/ 1782032 h 6096646"/>
              <a:gd name="connsiteX5" fmla="*/ 2714048 w 6983126"/>
              <a:gd name="connsiteY5" fmla="*/ 1485699 h 6096646"/>
              <a:gd name="connsiteX6" fmla="*/ 2747913 w 6983126"/>
              <a:gd name="connsiteY6" fmla="*/ 1147033 h 6096646"/>
              <a:gd name="connsiteX7" fmla="*/ 2693267 w 6983126"/>
              <a:gd name="connsiteY7" fmla="*/ 890946 h 6096646"/>
              <a:gd name="connsiteX8" fmla="*/ 2758520 w 6983126"/>
              <a:gd name="connsiteY8" fmla="*/ 44668 h 6096646"/>
              <a:gd name="connsiteX9" fmla="*/ 4737581 w 6983126"/>
              <a:gd name="connsiteY9" fmla="*/ 181833 h 6096646"/>
              <a:gd name="connsiteX10" fmla="*/ 5304848 w 6983126"/>
              <a:gd name="connsiteY10" fmla="*/ 588232 h 6096646"/>
              <a:gd name="connsiteX11" fmla="*/ 5614266 w 6983126"/>
              <a:gd name="connsiteY11" fmla="*/ 890946 h 6096646"/>
              <a:gd name="connsiteX12" fmla="*/ 5685848 w 6983126"/>
              <a:gd name="connsiteY12" fmla="*/ 1307900 h 6096646"/>
              <a:gd name="connsiteX13" fmla="*/ 6811915 w 6983126"/>
              <a:gd name="connsiteY13" fmla="*/ 1646566 h 6096646"/>
              <a:gd name="connsiteX14" fmla="*/ 6974920 w 6983126"/>
              <a:gd name="connsiteY14" fmla="*/ 2203669 h 6096646"/>
              <a:gd name="connsiteX15" fmla="*/ 6879647 w 6983126"/>
              <a:gd name="connsiteY15" fmla="*/ 3348366 h 6096646"/>
              <a:gd name="connsiteX16" fmla="*/ 6401667 w 6983126"/>
              <a:gd name="connsiteY16" fmla="*/ 3972814 h 6096646"/>
              <a:gd name="connsiteX17" fmla="*/ 5920369 w 6983126"/>
              <a:gd name="connsiteY17" fmla="*/ 4196204 h 6096646"/>
              <a:gd name="connsiteX18" fmla="*/ 5464410 w 6983126"/>
              <a:gd name="connsiteY18" fmla="*/ 4402791 h 6096646"/>
              <a:gd name="connsiteX19" fmla="*/ 5271459 w 6983126"/>
              <a:gd name="connsiteY19" fmla="*/ 4685264 h 6096646"/>
              <a:gd name="connsiteX20" fmla="*/ 5021600 w 6983126"/>
              <a:gd name="connsiteY20" fmla="*/ 5281891 h 6096646"/>
              <a:gd name="connsiteX21" fmla="*/ 4449123 w 6983126"/>
              <a:gd name="connsiteY21" fmla="*/ 5614694 h 6096646"/>
              <a:gd name="connsiteX22" fmla="*/ 4007681 w 6983126"/>
              <a:gd name="connsiteY22" fmla="*/ 5582521 h 6096646"/>
              <a:gd name="connsiteX23" fmla="*/ 3548339 w 6983126"/>
              <a:gd name="connsiteY23" fmla="*/ 5319795 h 6096646"/>
              <a:gd name="connsiteX24" fmla="*/ 2939451 w 6983126"/>
              <a:gd name="connsiteY24" fmla="*/ 5612742 h 6096646"/>
              <a:gd name="connsiteX25" fmla="*/ 2485508 w 6983126"/>
              <a:gd name="connsiteY25" fmla="*/ 5831573 h 6096646"/>
              <a:gd name="connsiteX26" fmla="*/ 1774900 w 6983126"/>
              <a:gd name="connsiteY26" fmla="*/ 6040766 h 6096646"/>
              <a:gd name="connsiteX27" fmla="*/ 1014263 w 6983126"/>
              <a:gd name="connsiteY27" fmla="*/ 6078411 h 6096646"/>
              <a:gd name="connsiteX28" fmla="*/ 212534 w 6983126"/>
              <a:gd name="connsiteY28" fmla="*/ 5725416 h 6096646"/>
              <a:gd name="connsiteX29" fmla="*/ 49186 w 6983126"/>
              <a:gd name="connsiteY29" fmla="*/ 4184868 h 6096646"/>
              <a:gd name="connsiteX0" fmla="*/ 49186 w 6983126"/>
              <a:gd name="connsiteY0" fmla="*/ 4184868 h 6096646"/>
              <a:gd name="connsiteX1" fmla="*/ 588915 w 6983126"/>
              <a:gd name="connsiteY1" fmla="*/ 2586365 h 6096646"/>
              <a:gd name="connsiteX2" fmla="*/ 820830 w 6983126"/>
              <a:gd name="connsiteY2" fmla="*/ 2308788 h 6096646"/>
              <a:gd name="connsiteX3" fmla="*/ 1105382 w 6983126"/>
              <a:gd name="connsiteY3" fmla="*/ 2137631 h 6096646"/>
              <a:gd name="connsiteX4" fmla="*/ 2375382 w 6983126"/>
              <a:gd name="connsiteY4" fmla="*/ 1782032 h 6096646"/>
              <a:gd name="connsiteX5" fmla="*/ 2714048 w 6983126"/>
              <a:gd name="connsiteY5" fmla="*/ 1485699 h 6096646"/>
              <a:gd name="connsiteX6" fmla="*/ 2747913 w 6983126"/>
              <a:gd name="connsiteY6" fmla="*/ 1147033 h 6096646"/>
              <a:gd name="connsiteX7" fmla="*/ 2693267 w 6983126"/>
              <a:gd name="connsiteY7" fmla="*/ 890946 h 6096646"/>
              <a:gd name="connsiteX8" fmla="*/ 2758520 w 6983126"/>
              <a:gd name="connsiteY8" fmla="*/ 44668 h 6096646"/>
              <a:gd name="connsiteX9" fmla="*/ 4737581 w 6983126"/>
              <a:gd name="connsiteY9" fmla="*/ 181833 h 6096646"/>
              <a:gd name="connsiteX10" fmla="*/ 5304848 w 6983126"/>
              <a:gd name="connsiteY10" fmla="*/ 588232 h 6096646"/>
              <a:gd name="connsiteX11" fmla="*/ 5614266 w 6983126"/>
              <a:gd name="connsiteY11" fmla="*/ 890946 h 6096646"/>
              <a:gd name="connsiteX12" fmla="*/ 5685848 w 6983126"/>
              <a:gd name="connsiteY12" fmla="*/ 1307900 h 6096646"/>
              <a:gd name="connsiteX13" fmla="*/ 6811915 w 6983126"/>
              <a:gd name="connsiteY13" fmla="*/ 1646566 h 6096646"/>
              <a:gd name="connsiteX14" fmla="*/ 6974920 w 6983126"/>
              <a:gd name="connsiteY14" fmla="*/ 2203669 h 6096646"/>
              <a:gd name="connsiteX15" fmla="*/ 6879647 w 6983126"/>
              <a:gd name="connsiteY15" fmla="*/ 3348366 h 6096646"/>
              <a:gd name="connsiteX16" fmla="*/ 6401667 w 6983126"/>
              <a:gd name="connsiteY16" fmla="*/ 3972814 h 6096646"/>
              <a:gd name="connsiteX17" fmla="*/ 5920369 w 6983126"/>
              <a:gd name="connsiteY17" fmla="*/ 4196204 h 6096646"/>
              <a:gd name="connsiteX18" fmla="*/ 5464410 w 6983126"/>
              <a:gd name="connsiteY18" fmla="*/ 4402791 h 6096646"/>
              <a:gd name="connsiteX19" fmla="*/ 5136643 w 6983126"/>
              <a:gd name="connsiteY19" fmla="*/ 4685264 h 6096646"/>
              <a:gd name="connsiteX20" fmla="*/ 5021600 w 6983126"/>
              <a:gd name="connsiteY20" fmla="*/ 5281891 h 6096646"/>
              <a:gd name="connsiteX21" fmla="*/ 4449123 w 6983126"/>
              <a:gd name="connsiteY21" fmla="*/ 5614694 h 6096646"/>
              <a:gd name="connsiteX22" fmla="*/ 4007681 w 6983126"/>
              <a:gd name="connsiteY22" fmla="*/ 5582521 h 6096646"/>
              <a:gd name="connsiteX23" fmla="*/ 3548339 w 6983126"/>
              <a:gd name="connsiteY23" fmla="*/ 5319795 h 6096646"/>
              <a:gd name="connsiteX24" fmla="*/ 2939451 w 6983126"/>
              <a:gd name="connsiteY24" fmla="*/ 5612742 h 6096646"/>
              <a:gd name="connsiteX25" fmla="*/ 2485508 w 6983126"/>
              <a:gd name="connsiteY25" fmla="*/ 5831573 h 6096646"/>
              <a:gd name="connsiteX26" fmla="*/ 1774900 w 6983126"/>
              <a:gd name="connsiteY26" fmla="*/ 6040766 h 6096646"/>
              <a:gd name="connsiteX27" fmla="*/ 1014263 w 6983126"/>
              <a:gd name="connsiteY27" fmla="*/ 6078411 h 6096646"/>
              <a:gd name="connsiteX28" fmla="*/ 212534 w 6983126"/>
              <a:gd name="connsiteY28" fmla="*/ 5725416 h 6096646"/>
              <a:gd name="connsiteX29" fmla="*/ 49186 w 6983126"/>
              <a:gd name="connsiteY29" fmla="*/ 4184868 h 6096646"/>
              <a:gd name="connsiteX0" fmla="*/ 49186 w 6983126"/>
              <a:gd name="connsiteY0" fmla="*/ 4184868 h 6096646"/>
              <a:gd name="connsiteX1" fmla="*/ 588915 w 6983126"/>
              <a:gd name="connsiteY1" fmla="*/ 2586365 h 6096646"/>
              <a:gd name="connsiteX2" fmla="*/ 820830 w 6983126"/>
              <a:gd name="connsiteY2" fmla="*/ 2308788 h 6096646"/>
              <a:gd name="connsiteX3" fmla="*/ 1105382 w 6983126"/>
              <a:gd name="connsiteY3" fmla="*/ 2137631 h 6096646"/>
              <a:gd name="connsiteX4" fmla="*/ 2375382 w 6983126"/>
              <a:gd name="connsiteY4" fmla="*/ 1782032 h 6096646"/>
              <a:gd name="connsiteX5" fmla="*/ 2714048 w 6983126"/>
              <a:gd name="connsiteY5" fmla="*/ 1485699 h 6096646"/>
              <a:gd name="connsiteX6" fmla="*/ 2747913 w 6983126"/>
              <a:gd name="connsiteY6" fmla="*/ 1147033 h 6096646"/>
              <a:gd name="connsiteX7" fmla="*/ 2693267 w 6983126"/>
              <a:gd name="connsiteY7" fmla="*/ 890946 h 6096646"/>
              <a:gd name="connsiteX8" fmla="*/ 2758520 w 6983126"/>
              <a:gd name="connsiteY8" fmla="*/ 44668 h 6096646"/>
              <a:gd name="connsiteX9" fmla="*/ 4737581 w 6983126"/>
              <a:gd name="connsiteY9" fmla="*/ 181833 h 6096646"/>
              <a:gd name="connsiteX10" fmla="*/ 5304848 w 6983126"/>
              <a:gd name="connsiteY10" fmla="*/ 588232 h 6096646"/>
              <a:gd name="connsiteX11" fmla="*/ 5614266 w 6983126"/>
              <a:gd name="connsiteY11" fmla="*/ 890946 h 6096646"/>
              <a:gd name="connsiteX12" fmla="*/ 5685848 w 6983126"/>
              <a:gd name="connsiteY12" fmla="*/ 1307900 h 6096646"/>
              <a:gd name="connsiteX13" fmla="*/ 6811915 w 6983126"/>
              <a:gd name="connsiteY13" fmla="*/ 1646566 h 6096646"/>
              <a:gd name="connsiteX14" fmla="*/ 6974920 w 6983126"/>
              <a:gd name="connsiteY14" fmla="*/ 2203669 h 6096646"/>
              <a:gd name="connsiteX15" fmla="*/ 6879647 w 6983126"/>
              <a:gd name="connsiteY15" fmla="*/ 3348366 h 6096646"/>
              <a:gd name="connsiteX16" fmla="*/ 6401667 w 6983126"/>
              <a:gd name="connsiteY16" fmla="*/ 3972814 h 6096646"/>
              <a:gd name="connsiteX17" fmla="*/ 5920369 w 6983126"/>
              <a:gd name="connsiteY17" fmla="*/ 4196204 h 6096646"/>
              <a:gd name="connsiteX18" fmla="*/ 5464410 w 6983126"/>
              <a:gd name="connsiteY18" fmla="*/ 4402791 h 6096646"/>
              <a:gd name="connsiteX19" fmla="*/ 5212843 w 6983126"/>
              <a:gd name="connsiteY19" fmla="*/ 4661818 h 6096646"/>
              <a:gd name="connsiteX20" fmla="*/ 5021600 w 6983126"/>
              <a:gd name="connsiteY20" fmla="*/ 5281891 h 6096646"/>
              <a:gd name="connsiteX21" fmla="*/ 4449123 w 6983126"/>
              <a:gd name="connsiteY21" fmla="*/ 5614694 h 6096646"/>
              <a:gd name="connsiteX22" fmla="*/ 4007681 w 6983126"/>
              <a:gd name="connsiteY22" fmla="*/ 5582521 h 6096646"/>
              <a:gd name="connsiteX23" fmla="*/ 3548339 w 6983126"/>
              <a:gd name="connsiteY23" fmla="*/ 5319795 h 6096646"/>
              <a:gd name="connsiteX24" fmla="*/ 2939451 w 6983126"/>
              <a:gd name="connsiteY24" fmla="*/ 5612742 h 6096646"/>
              <a:gd name="connsiteX25" fmla="*/ 2485508 w 6983126"/>
              <a:gd name="connsiteY25" fmla="*/ 5831573 h 6096646"/>
              <a:gd name="connsiteX26" fmla="*/ 1774900 w 6983126"/>
              <a:gd name="connsiteY26" fmla="*/ 6040766 h 6096646"/>
              <a:gd name="connsiteX27" fmla="*/ 1014263 w 6983126"/>
              <a:gd name="connsiteY27" fmla="*/ 6078411 h 6096646"/>
              <a:gd name="connsiteX28" fmla="*/ 212534 w 6983126"/>
              <a:gd name="connsiteY28" fmla="*/ 5725416 h 6096646"/>
              <a:gd name="connsiteX29" fmla="*/ 49186 w 6983126"/>
              <a:gd name="connsiteY29" fmla="*/ 4184868 h 6096646"/>
              <a:gd name="connsiteX0" fmla="*/ 49186 w 6983126"/>
              <a:gd name="connsiteY0" fmla="*/ 4184868 h 6096646"/>
              <a:gd name="connsiteX1" fmla="*/ 588915 w 6983126"/>
              <a:gd name="connsiteY1" fmla="*/ 2586365 h 6096646"/>
              <a:gd name="connsiteX2" fmla="*/ 820830 w 6983126"/>
              <a:gd name="connsiteY2" fmla="*/ 2308788 h 6096646"/>
              <a:gd name="connsiteX3" fmla="*/ 1105382 w 6983126"/>
              <a:gd name="connsiteY3" fmla="*/ 2137631 h 6096646"/>
              <a:gd name="connsiteX4" fmla="*/ 2375382 w 6983126"/>
              <a:gd name="connsiteY4" fmla="*/ 1782032 h 6096646"/>
              <a:gd name="connsiteX5" fmla="*/ 2714048 w 6983126"/>
              <a:gd name="connsiteY5" fmla="*/ 1485699 h 6096646"/>
              <a:gd name="connsiteX6" fmla="*/ 2747913 w 6983126"/>
              <a:gd name="connsiteY6" fmla="*/ 1147033 h 6096646"/>
              <a:gd name="connsiteX7" fmla="*/ 2693267 w 6983126"/>
              <a:gd name="connsiteY7" fmla="*/ 890946 h 6096646"/>
              <a:gd name="connsiteX8" fmla="*/ 2758520 w 6983126"/>
              <a:gd name="connsiteY8" fmla="*/ 44668 h 6096646"/>
              <a:gd name="connsiteX9" fmla="*/ 4737581 w 6983126"/>
              <a:gd name="connsiteY9" fmla="*/ 181833 h 6096646"/>
              <a:gd name="connsiteX10" fmla="*/ 5304848 w 6983126"/>
              <a:gd name="connsiteY10" fmla="*/ 588232 h 6096646"/>
              <a:gd name="connsiteX11" fmla="*/ 5614266 w 6983126"/>
              <a:gd name="connsiteY11" fmla="*/ 890946 h 6096646"/>
              <a:gd name="connsiteX12" fmla="*/ 5685848 w 6983126"/>
              <a:gd name="connsiteY12" fmla="*/ 1307900 h 6096646"/>
              <a:gd name="connsiteX13" fmla="*/ 6811915 w 6983126"/>
              <a:gd name="connsiteY13" fmla="*/ 1646566 h 6096646"/>
              <a:gd name="connsiteX14" fmla="*/ 6974920 w 6983126"/>
              <a:gd name="connsiteY14" fmla="*/ 2203669 h 6096646"/>
              <a:gd name="connsiteX15" fmla="*/ 6879647 w 6983126"/>
              <a:gd name="connsiteY15" fmla="*/ 3348366 h 6096646"/>
              <a:gd name="connsiteX16" fmla="*/ 6401667 w 6983126"/>
              <a:gd name="connsiteY16" fmla="*/ 3972814 h 6096646"/>
              <a:gd name="connsiteX17" fmla="*/ 5920369 w 6983126"/>
              <a:gd name="connsiteY17" fmla="*/ 4196204 h 6096646"/>
              <a:gd name="connsiteX18" fmla="*/ 5429241 w 6983126"/>
              <a:gd name="connsiteY18" fmla="*/ 4262115 h 6096646"/>
              <a:gd name="connsiteX19" fmla="*/ 5212843 w 6983126"/>
              <a:gd name="connsiteY19" fmla="*/ 4661818 h 6096646"/>
              <a:gd name="connsiteX20" fmla="*/ 5021600 w 6983126"/>
              <a:gd name="connsiteY20" fmla="*/ 5281891 h 6096646"/>
              <a:gd name="connsiteX21" fmla="*/ 4449123 w 6983126"/>
              <a:gd name="connsiteY21" fmla="*/ 5614694 h 6096646"/>
              <a:gd name="connsiteX22" fmla="*/ 4007681 w 6983126"/>
              <a:gd name="connsiteY22" fmla="*/ 5582521 h 6096646"/>
              <a:gd name="connsiteX23" fmla="*/ 3548339 w 6983126"/>
              <a:gd name="connsiteY23" fmla="*/ 5319795 h 6096646"/>
              <a:gd name="connsiteX24" fmla="*/ 2939451 w 6983126"/>
              <a:gd name="connsiteY24" fmla="*/ 5612742 h 6096646"/>
              <a:gd name="connsiteX25" fmla="*/ 2485508 w 6983126"/>
              <a:gd name="connsiteY25" fmla="*/ 5831573 h 6096646"/>
              <a:gd name="connsiteX26" fmla="*/ 1774900 w 6983126"/>
              <a:gd name="connsiteY26" fmla="*/ 6040766 h 6096646"/>
              <a:gd name="connsiteX27" fmla="*/ 1014263 w 6983126"/>
              <a:gd name="connsiteY27" fmla="*/ 6078411 h 6096646"/>
              <a:gd name="connsiteX28" fmla="*/ 212534 w 6983126"/>
              <a:gd name="connsiteY28" fmla="*/ 5725416 h 6096646"/>
              <a:gd name="connsiteX29" fmla="*/ 49186 w 6983126"/>
              <a:gd name="connsiteY29" fmla="*/ 4184868 h 6096646"/>
              <a:gd name="connsiteX0" fmla="*/ 49186 w 6983126"/>
              <a:gd name="connsiteY0" fmla="*/ 4184868 h 6096646"/>
              <a:gd name="connsiteX1" fmla="*/ 588915 w 6983126"/>
              <a:gd name="connsiteY1" fmla="*/ 2586365 h 6096646"/>
              <a:gd name="connsiteX2" fmla="*/ 820830 w 6983126"/>
              <a:gd name="connsiteY2" fmla="*/ 2308788 h 6096646"/>
              <a:gd name="connsiteX3" fmla="*/ 1105382 w 6983126"/>
              <a:gd name="connsiteY3" fmla="*/ 2137631 h 6096646"/>
              <a:gd name="connsiteX4" fmla="*/ 2375382 w 6983126"/>
              <a:gd name="connsiteY4" fmla="*/ 1782032 h 6096646"/>
              <a:gd name="connsiteX5" fmla="*/ 2714048 w 6983126"/>
              <a:gd name="connsiteY5" fmla="*/ 1485699 h 6096646"/>
              <a:gd name="connsiteX6" fmla="*/ 2747913 w 6983126"/>
              <a:gd name="connsiteY6" fmla="*/ 1147033 h 6096646"/>
              <a:gd name="connsiteX7" fmla="*/ 2693267 w 6983126"/>
              <a:gd name="connsiteY7" fmla="*/ 890946 h 6096646"/>
              <a:gd name="connsiteX8" fmla="*/ 2758520 w 6983126"/>
              <a:gd name="connsiteY8" fmla="*/ 44668 h 6096646"/>
              <a:gd name="connsiteX9" fmla="*/ 4737581 w 6983126"/>
              <a:gd name="connsiteY9" fmla="*/ 181833 h 6096646"/>
              <a:gd name="connsiteX10" fmla="*/ 5304848 w 6983126"/>
              <a:gd name="connsiteY10" fmla="*/ 588232 h 6096646"/>
              <a:gd name="connsiteX11" fmla="*/ 5614266 w 6983126"/>
              <a:gd name="connsiteY11" fmla="*/ 890946 h 6096646"/>
              <a:gd name="connsiteX12" fmla="*/ 5685848 w 6983126"/>
              <a:gd name="connsiteY12" fmla="*/ 1307900 h 6096646"/>
              <a:gd name="connsiteX13" fmla="*/ 6811915 w 6983126"/>
              <a:gd name="connsiteY13" fmla="*/ 1646566 h 6096646"/>
              <a:gd name="connsiteX14" fmla="*/ 6974920 w 6983126"/>
              <a:gd name="connsiteY14" fmla="*/ 2203669 h 6096646"/>
              <a:gd name="connsiteX15" fmla="*/ 6879647 w 6983126"/>
              <a:gd name="connsiteY15" fmla="*/ 3348366 h 6096646"/>
              <a:gd name="connsiteX16" fmla="*/ 6401667 w 6983126"/>
              <a:gd name="connsiteY16" fmla="*/ 3972814 h 6096646"/>
              <a:gd name="connsiteX17" fmla="*/ 5920369 w 6983126"/>
              <a:gd name="connsiteY17" fmla="*/ 4196204 h 6096646"/>
              <a:gd name="connsiteX18" fmla="*/ 5505441 w 6983126"/>
              <a:gd name="connsiteY18" fmla="*/ 4361761 h 6096646"/>
              <a:gd name="connsiteX19" fmla="*/ 5212843 w 6983126"/>
              <a:gd name="connsiteY19" fmla="*/ 4661818 h 6096646"/>
              <a:gd name="connsiteX20" fmla="*/ 5021600 w 6983126"/>
              <a:gd name="connsiteY20" fmla="*/ 5281891 h 6096646"/>
              <a:gd name="connsiteX21" fmla="*/ 4449123 w 6983126"/>
              <a:gd name="connsiteY21" fmla="*/ 5614694 h 6096646"/>
              <a:gd name="connsiteX22" fmla="*/ 4007681 w 6983126"/>
              <a:gd name="connsiteY22" fmla="*/ 5582521 h 6096646"/>
              <a:gd name="connsiteX23" fmla="*/ 3548339 w 6983126"/>
              <a:gd name="connsiteY23" fmla="*/ 5319795 h 6096646"/>
              <a:gd name="connsiteX24" fmla="*/ 2939451 w 6983126"/>
              <a:gd name="connsiteY24" fmla="*/ 5612742 h 6096646"/>
              <a:gd name="connsiteX25" fmla="*/ 2485508 w 6983126"/>
              <a:gd name="connsiteY25" fmla="*/ 5831573 h 6096646"/>
              <a:gd name="connsiteX26" fmla="*/ 1774900 w 6983126"/>
              <a:gd name="connsiteY26" fmla="*/ 6040766 h 6096646"/>
              <a:gd name="connsiteX27" fmla="*/ 1014263 w 6983126"/>
              <a:gd name="connsiteY27" fmla="*/ 6078411 h 6096646"/>
              <a:gd name="connsiteX28" fmla="*/ 212534 w 6983126"/>
              <a:gd name="connsiteY28" fmla="*/ 5725416 h 6096646"/>
              <a:gd name="connsiteX29" fmla="*/ 49186 w 6983126"/>
              <a:gd name="connsiteY29" fmla="*/ 4184868 h 6096646"/>
              <a:gd name="connsiteX0" fmla="*/ 49186 w 6983126"/>
              <a:gd name="connsiteY0" fmla="*/ 4184868 h 6096646"/>
              <a:gd name="connsiteX1" fmla="*/ 588915 w 6983126"/>
              <a:gd name="connsiteY1" fmla="*/ 2586365 h 6096646"/>
              <a:gd name="connsiteX2" fmla="*/ 820830 w 6983126"/>
              <a:gd name="connsiteY2" fmla="*/ 2308788 h 6096646"/>
              <a:gd name="connsiteX3" fmla="*/ 1105382 w 6983126"/>
              <a:gd name="connsiteY3" fmla="*/ 2137631 h 6096646"/>
              <a:gd name="connsiteX4" fmla="*/ 2375382 w 6983126"/>
              <a:gd name="connsiteY4" fmla="*/ 1782032 h 6096646"/>
              <a:gd name="connsiteX5" fmla="*/ 2714048 w 6983126"/>
              <a:gd name="connsiteY5" fmla="*/ 1485699 h 6096646"/>
              <a:gd name="connsiteX6" fmla="*/ 2747913 w 6983126"/>
              <a:gd name="connsiteY6" fmla="*/ 1147033 h 6096646"/>
              <a:gd name="connsiteX7" fmla="*/ 2693267 w 6983126"/>
              <a:gd name="connsiteY7" fmla="*/ 890946 h 6096646"/>
              <a:gd name="connsiteX8" fmla="*/ 2758520 w 6983126"/>
              <a:gd name="connsiteY8" fmla="*/ 44668 h 6096646"/>
              <a:gd name="connsiteX9" fmla="*/ 4737581 w 6983126"/>
              <a:gd name="connsiteY9" fmla="*/ 181833 h 6096646"/>
              <a:gd name="connsiteX10" fmla="*/ 5304848 w 6983126"/>
              <a:gd name="connsiteY10" fmla="*/ 588232 h 6096646"/>
              <a:gd name="connsiteX11" fmla="*/ 5614266 w 6983126"/>
              <a:gd name="connsiteY11" fmla="*/ 890946 h 6096646"/>
              <a:gd name="connsiteX12" fmla="*/ 5685848 w 6983126"/>
              <a:gd name="connsiteY12" fmla="*/ 1307900 h 6096646"/>
              <a:gd name="connsiteX13" fmla="*/ 6811915 w 6983126"/>
              <a:gd name="connsiteY13" fmla="*/ 1646566 h 6096646"/>
              <a:gd name="connsiteX14" fmla="*/ 6974920 w 6983126"/>
              <a:gd name="connsiteY14" fmla="*/ 2203669 h 6096646"/>
              <a:gd name="connsiteX15" fmla="*/ 6879647 w 6983126"/>
              <a:gd name="connsiteY15" fmla="*/ 3348366 h 6096646"/>
              <a:gd name="connsiteX16" fmla="*/ 6401667 w 6983126"/>
              <a:gd name="connsiteY16" fmla="*/ 3972814 h 6096646"/>
              <a:gd name="connsiteX17" fmla="*/ 5902785 w 6983126"/>
              <a:gd name="connsiteY17" fmla="*/ 4026220 h 6096646"/>
              <a:gd name="connsiteX18" fmla="*/ 5505441 w 6983126"/>
              <a:gd name="connsiteY18" fmla="*/ 4361761 h 6096646"/>
              <a:gd name="connsiteX19" fmla="*/ 5212843 w 6983126"/>
              <a:gd name="connsiteY19" fmla="*/ 4661818 h 6096646"/>
              <a:gd name="connsiteX20" fmla="*/ 5021600 w 6983126"/>
              <a:gd name="connsiteY20" fmla="*/ 5281891 h 6096646"/>
              <a:gd name="connsiteX21" fmla="*/ 4449123 w 6983126"/>
              <a:gd name="connsiteY21" fmla="*/ 5614694 h 6096646"/>
              <a:gd name="connsiteX22" fmla="*/ 4007681 w 6983126"/>
              <a:gd name="connsiteY22" fmla="*/ 5582521 h 6096646"/>
              <a:gd name="connsiteX23" fmla="*/ 3548339 w 6983126"/>
              <a:gd name="connsiteY23" fmla="*/ 5319795 h 6096646"/>
              <a:gd name="connsiteX24" fmla="*/ 2939451 w 6983126"/>
              <a:gd name="connsiteY24" fmla="*/ 5612742 h 6096646"/>
              <a:gd name="connsiteX25" fmla="*/ 2485508 w 6983126"/>
              <a:gd name="connsiteY25" fmla="*/ 5831573 h 6096646"/>
              <a:gd name="connsiteX26" fmla="*/ 1774900 w 6983126"/>
              <a:gd name="connsiteY26" fmla="*/ 6040766 h 6096646"/>
              <a:gd name="connsiteX27" fmla="*/ 1014263 w 6983126"/>
              <a:gd name="connsiteY27" fmla="*/ 6078411 h 6096646"/>
              <a:gd name="connsiteX28" fmla="*/ 212534 w 6983126"/>
              <a:gd name="connsiteY28" fmla="*/ 5725416 h 6096646"/>
              <a:gd name="connsiteX29" fmla="*/ 49186 w 6983126"/>
              <a:gd name="connsiteY29" fmla="*/ 4184868 h 6096646"/>
              <a:gd name="connsiteX0" fmla="*/ 49186 w 6983126"/>
              <a:gd name="connsiteY0" fmla="*/ 4184868 h 6096646"/>
              <a:gd name="connsiteX1" fmla="*/ 588915 w 6983126"/>
              <a:gd name="connsiteY1" fmla="*/ 2586365 h 6096646"/>
              <a:gd name="connsiteX2" fmla="*/ 820830 w 6983126"/>
              <a:gd name="connsiteY2" fmla="*/ 2308788 h 6096646"/>
              <a:gd name="connsiteX3" fmla="*/ 1105382 w 6983126"/>
              <a:gd name="connsiteY3" fmla="*/ 2137631 h 6096646"/>
              <a:gd name="connsiteX4" fmla="*/ 2375382 w 6983126"/>
              <a:gd name="connsiteY4" fmla="*/ 1782032 h 6096646"/>
              <a:gd name="connsiteX5" fmla="*/ 2714048 w 6983126"/>
              <a:gd name="connsiteY5" fmla="*/ 1485699 h 6096646"/>
              <a:gd name="connsiteX6" fmla="*/ 2747913 w 6983126"/>
              <a:gd name="connsiteY6" fmla="*/ 1147033 h 6096646"/>
              <a:gd name="connsiteX7" fmla="*/ 2693267 w 6983126"/>
              <a:gd name="connsiteY7" fmla="*/ 890946 h 6096646"/>
              <a:gd name="connsiteX8" fmla="*/ 2758520 w 6983126"/>
              <a:gd name="connsiteY8" fmla="*/ 44668 h 6096646"/>
              <a:gd name="connsiteX9" fmla="*/ 4737581 w 6983126"/>
              <a:gd name="connsiteY9" fmla="*/ 181833 h 6096646"/>
              <a:gd name="connsiteX10" fmla="*/ 5304848 w 6983126"/>
              <a:gd name="connsiteY10" fmla="*/ 588232 h 6096646"/>
              <a:gd name="connsiteX11" fmla="*/ 5614266 w 6983126"/>
              <a:gd name="connsiteY11" fmla="*/ 890946 h 6096646"/>
              <a:gd name="connsiteX12" fmla="*/ 5685848 w 6983126"/>
              <a:gd name="connsiteY12" fmla="*/ 1307900 h 6096646"/>
              <a:gd name="connsiteX13" fmla="*/ 6811915 w 6983126"/>
              <a:gd name="connsiteY13" fmla="*/ 1646566 h 6096646"/>
              <a:gd name="connsiteX14" fmla="*/ 6974920 w 6983126"/>
              <a:gd name="connsiteY14" fmla="*/ 2203669 h 6096646"/>
              <a:gd name="connsiteX15" fmla="*/ 6879647 w 6983126"/>
              <a:gd name="connsiteY15" fmla="*/ 3348366 h 6096646"/>
              <a:gd name="connsiteX16" fmla="*/ 6401667 w 6983126"/>
              <a:gd name="connsiteY16" fmla="*/ 3972814 h 6096646"/>
              <a:gd name="connsiteX17" fmla="*/ 5973124 w 6983126"/>
              <a:gd name="connsiteY17" fmla="*/ 4143451 h 6096646"/>
              <a:gd name="connsiteX18" fmla="*/ 5505441 w 6983126"/>
              <a:gd name="connsiteY18" fmla="*/ 4361761 h 6096646"/>
              <a:gd name="connsiteX19" fmla="*/ 5212843 w 6983126"/>
              <a:gd name="connsiteY19" fmla="*/ 4661818 h 6096646"/>
              <a:gd name="connsiteX20" fmla="*/ 5021600 w 6983126"/>
              <a:gd name="connsiteY20" fmla="*/ 5281891 h 6096646"/>
              <a:gd name="connsiteX21" fmla="*/ 4449123 w 6983126"/>
              <a:gd name="connsiteY21" fmla="*/ 5614694 h 6096646"/>
              <a:gd name="connsiteX22" fmla="*/ 4007681 w 6983126"/>
              <a:gd name="connsiteY22" fmla="*/ 5582521 h 6096646"/>
              <a:gd name="connsiteX23" fmla="*/ 3548339 w 6983126"/>
              <a:gd name="connsiteY23" fmla="*/ 5319795 h 6096646"/>
              <a:gd name="connsiteX24" fmla="*/ 2939451 w 6983126"/>
              <a:gd name="connsiteY24" fmla="*/ 5612742 h 6096646"/>
              <a:gd name="connsiteX25" fmla="*/ 2485508 w 6983126"/>
              <a:gd name="connsiteY25" fmla="*/ 5831573 h 6096646"/>
              <a:gd name="connsiteX26" fmla="*/ 1774900 w 6983126"/>
              <a:gd name="connsiteY26" fmla="*/ 6040766 h 6096646"/>
              <a:gd name="connsiteX27" fmla="*/ 1014263 w 6983126"/>
              <a:gd name="connsiteY27" fmla="*/ 6078411 h 6096646"/>
              <a:gd name="connsiteX28" fmla="*/ 212534 w 6983126"/>
              <a:gd name="connsiteY28" fmla="*/ 5725416 h 6096646"/>
              <a:gd name="connsiteX29" fmla="*/ 49186 w 6983126"/>
              <a:gd name="connsiteY29" fmla="*/ 4184868 h 6096646"/>
              <a:gd name="connsiteX0" fmla="*/ 49186 w 6983126"/>
              <a:gd name="connsiteY0" fmla="*/ 4184868 h 6096646"/>
              <a:gd name="connsiteX1" fmla="*/ 588915 w 6983126"/>
              <a:gd name="connsiteY1" fmla="*/ 2586365 h 6096646"/>
              <a:gd name="connsiteX2" fmla="*/ 820830 w 6983126"/>
              <a:gd name="connsiteY2" fmla="*/ 2308788 h 6096646"/>
              <a:gd name="connsiteX3" fmla="*/ 1105382 w 6983126"/>
              <a:gd name="connsiteY3" fmla="*/ 2137631 h 6096646"/>
              <a:gd name="connsiteX4" fmla="*/ 2375382 w 6983126"/>
              <a:gd name="connsiteY4" fmla="*/ 1782032 h 6096646"/>
              <a:gd name="connsiteX5" fmla="*/ 2714048 w 6983126"/>
              <a:gd name="connsiteY5" fmla="*/ 1485699 h 6096646"/>
              <a:gd name="connsiteX6" fmla="*/ 2747913 w 6983126"/>
              <a:gd name="connsiteY6" fmla="*/ 1147033 h 6096646"/>
              <a:gd name="connsiteX7" fmla="*/ 2693267 w 6983126"/>
              <a:gd name="connsiteY7" fmla="*/ 890946 h 6096646"/>
              <a:gd name="connsiteX8" fmla="*/ 2758520 w 6983126"/>
              <a:gd name="connsiteY8" fmla="*/ 44668 h 6096646"/>
              <a:gd name="connsiteX9" fmla="*/ 4737581 w 6983126"/>
              <a:gd name="connsiteY9" fmla="*/ 181833 h 6096646"/>
              <a:gd name="connsiteX10" fmla="*/ 5304848 w 6983126"/>
              <a:gd name="connsiteY10" fmla="*/ 588232 h 6096646"/>
              <a:gd name="connsiteX11" fmla="*/ 5614266 w 6983126"/>
              <a:gd name="connsiteY11" fmla="*/ 890946 h 6096646"/>
              <a:gd name="connsiteX12" fmla="*/ 5685848 w 6983126"/>
              <a:gd name="connsiteY12" fmla="*/ 1307900 h 6096646"/>
              <a:gd name="connsiteX13" fmla="*/ 6811915 w 6983126"/>
              <a:gd name="connsiteY13" fmla="*/ 1646566 h 6096646"/>
              <a:gd name="connsiteX14" fmla="*/ 6974920 w 6983126"/>
              <a:gd name="connsiteY14" fmla="*/ 2203669 h 6096646"/>
              <a:gd name="connsiteX15" fmla="*/ 6879647 w 6983126"/>
              <a:gd name="connsiteY15" fmla="*/ 3348366 h 6096646"/>
              <a:gd name="connsiteX16" fmla="*/ 6401667 w 6983126"/>
              <a:gd name="connsiteY16" fmla="*/ 3972814 h 6096646"/>
              <a:gd name="connsiteX17" fmla="*/ 5973124 w 6983126"/>
              <a:gd name="connsiteY17" fmla="*/ 4143451 h 6096646"/>
              <a:gd name="connsiteX18" fmla="*/ 5505441 w 6983126"/>
              <a:gd name="connsiteY18" fmla="*/ 4361761 h 6096646"/>
              <a:gd name="connsiteX19" fmla="*/ 5212843 w 6983126"/>
              <a:gd name="connsiteY19" fmla="*/ 4661818 h 6096646"/>
              <a:gd name="connsiteX20" fmla="*/ 5021600 w 6983126"/>
              <a:gd name="connsiteY20" fmla="*/ 5281891 h 6096646"/>
              <a:gd name="connsiteX21" fmla="*/ 4449123 w 6983126"/>
              <a:gd name="connsiteY21" fmla="*/ 5614694 h 6096646"/>
              <a:gd name="connsiteX22" fmla="*/ 4007681 w 6983126"/>
              <a:gd name="connsiteY22" fmla="*/ 5582521 h 6096646"/>
              <a:gd name="connsiteX23" fmla="*/ 3548339 w 6983126"/>
              <a:gd name="connsiteY23" fmla="*/ 5319795 h 6096646"/>
              <a:gd name="connsiteX24" fmla="*/ 2939451 w 6983126"/>
              <a:gd name="connsiteY24" fmla="*/ 5612742 h 6096646"/>
              <a:gd name="connsiteX25" fmla="*/ 2485508 w 6983126"/>
              <a:gd name="connsiteY25" fmla="*/ 5831573 h 6096646"/>
              <a:gd name="connsiteX26" fmla="*/ 1774900 w 6983126"/>
              <a:gd name="connsiteY26" fmla="*/ 6040766 h 6096646"/>
              <a:gd name="connsiteX27" fmla="*/ 1014263 w 6983126"/>
              <a:gd name="connsiteY27" fmla="*/ 6078411 h 6096646"/>
              <a:gd name="connsiteX28" fmla="*/ 212534 w 6983126"/>
              <a:gd name="connsiteY28" fmla="*/ 5725416 h 6096646"/>
              <a:gd name="connsiteX29" fmla="*/ 49186 w 6983126"/>
              <a:gd name="connsiteY29" fmla="*/ 4184868 h 6096646"/>
              <a:gd name="connsiteX0" fmla="*/ 49186 w 6983126"/>
              <a:gd name="connsiteY0" fmla="*/ 4184868 h 6096646"/>
              <a:gd name="connsiteX1" fmla="*/ 588915 w 6983126"/>
              <a:gd name="connsiteY1" fmla="*/ 2586365 h 6096646"/>
              <a:gd name="connsiteX2" fmla="*/ 820830 w 6983126"/>
              <a:gd name="connsiteY2" fmla="*/ 2308788 h 6096646"/>
              <a:gd name="connsiteX3" fmla="*/ 1105382 w 6983126"/>
              <a:gd name="connsiteY3" fmla="*/ 2137631 h 6096646"/>
              <a:gd name="connsiteX4" fmla="*/ 2375382 w 6983126"/>
              <a:gd name="connsiteY4" fmla="*/ 1782032 h 6096646"/>
              <a:gd name="connsiteX5" fmla="*/ 2714048 w 6983126"/>
              <a:gd name="connsiteY5" fmla="*/ 1485699 h 6096646"/>
              <a:gd name="connsiteX6" fmla="*/ 2747913 w 6983126"/>
              <a:gd name="connsiteY6" fmla="*/ 1147033 h 6096646"/>
              <a:gd name="connsiteX7" fmla="*/ 2693267 w 6983126"/>
              <a:gd name="connsiteY7" fmla="*/ 890946 h 6096646"/>
              <a:gd name="connsiteX8" fmla="*/ 2758520 w 6983126"/>
              <a:gd name="connsiteY8" fmla="*/ 44668 h 6096646"/>
              <a:gd name="connsiteX9" fmla="*/ 4737581 w 6983126"/>
              <a:gd name="connsiteY9" fmla="*/ 181833 h 6096646"/>
              <a:gd name="connsiteX10" fmla="*/ 5304848 w 6983126"/>
              <a:gd name="connsiteY10" fmla="*/ 588232 h 6096646"/>
              <a:gd name="connsiteX11" fmla="*/ 5614266 w 6983126"/>
              <a:gd name="connsiteY11" fmla="*/ 890946 h 6096646"/>
              <a:gd name="connsiteX12" fmla="*/ 5685848 w 6983126"/>
              <a:gd name="connsiteY12" fmla="*/ 1307900 h 6096646"/>
              <a:gd name="connsiteX13" fmla="*/ 6811915 w 6983126"/>
              <a:gd name="connsiteY13" fmla="*/ 1646566 h 6096646"/>
              <a:gd name="connsiteX14" fmla="*/ 6974920 w 6983126"/>
              <a:gd name="connsiteY14" fmla="*/ 2203669 h 6096646"/>
              <a:gd name="connsiteX15" fmla="*/ 6879647 w 6983126"/>
              <a:gd name="connsiteY15" fmla="*/ 3348366 h 6096646"/>
              <a:gd name="connsiteX16" fmla="*/ 6401667 w 6983126"/>
              <a:gd name="connsiteY16" fmla="*/ 3972814 h 6096646"/>
              <a:gd name="connsiteX17" fmla="*/ 6049324 w 6983126"/>
              <a:gd name="connsiteY17" fmla="*/ 4225513 h 6096646"/>
              <a:gd name="connsiteX18" fmla="*/ 5505441 w 6983126"/>
              <a:gd name="connsiteY18" fmla="*/ 4361761 h 6096646"/>
              <a:gd name="connsiteX19" fmla="*/ 5212843 w 6983126"/>
              <a:gd name="connsiteY19" fmla="*/ 4661818 h 6096646"/>
              <a:gd name="connsiteX20" fmla="*/ 5021600 w 6983126"/>
              <a:gd name="connsiteY20" fmla="*/ 5281891 h 6096646"/>
              <a:gd name="connsiteX21" fmla="*/ 4449123 w 6983126"/>
              <a:gd name="connsiteY21" fmla="*/ 5614694 h 6096646"/>
              <a:gd name="connsiteX22" fmla="*/ 4007681 w 6983126"/>
              <a:gd name="connsiteY22" fmla="*/ 5582521 h 6096646"/>
              <a:gd name="connsiteX23" fmla="*/ 3548339 w 6983126"/>
              <a:gd name="connsiteY23" fmla="*/ 5319795 h 6096646"/>
              <a:gd name="connsiteX24" fmla="*/ 2939451 w 6983126"/>
              <a:gd name="connsiteY24" fmla="*/ 5612742 h 6096646"/>
              <a:gd name="connsiteX25" fmla="*/ 2485508 w 6983126"/>
              <a:gd name="connsiteY25" fmla="*/ 5831573 h 6096646"/>
              <a:gd name="connsiteX26" fmla="*/ 1774900 w 6983126"/>
              <a:gd name="connsiteY26" fmla="*/ 6040766 h 6096646"/>
              <a:gd name="connsiteX27" fmla="*/ 1014263 w 6983126"/>
              <a:gd name="connsiteY27" fmla="*/ 6078411 h 6096646"/>
              <a:gd name="connsiteX28" fmla="*/ 212534 w 6983126"/>
              <a:gd name="connsiteY28" fmla="*/ 5725416 h 6096646"/>
              <a:gd name="connsiteX29" fmla="*/ 49186 w 6983126"/>
              <a:gd name="connsiteY29" fmla="*/ 4184868 h 6096646"/>
              <a:gd name="connsiteX0" fmla="*/ 49186 w 6983126"/>
              <a:gd name="connsiteY0" fmla="*/ 4184868 h 6096646"/>
              <a:gd name="connsiteX1" fmla="*/ 588915 w 6983126"/>
              <a:gd name="connsiteY1" fmla="*/ 2586365 h 6096646"/>
              <a:gd name="connsiteX2" fmla="*/ 820830 w 6983126"/>
              <a:gd name="connsiteY2" fmla="*/ 2308788 h 6096646"/>
              <a:gd name="connsiteX3" fmla="*/ 1105382 w 6983126"/>
              <a:gd name="connsiteY3" fmla="*/ 2137631 h 6096646"/>
              <a:gd name="connsiteX4" fmla="*/ 2375382 w 6983126"/>
              <a:gd name="connsiteY4" fmla="*/ 1782032 h 6096646"/>
              <a:gd name="connsiteX5" fmla="*/ 2714048 w 6983126"/>
              <a:gd name="connsiteY5" fmla="*/ 1485699 h 6096646"/>
              <a:gd name="connsiteX6" fmla="*/ 2747913 w 6983126"/>
              <a:gd name="connsiteY6" fmla="*/ 1147033 h 6096646"/>
              <a:gd name="connsiteX7" fmla="*/ 2693267 w 6983126"/>
              <a:gd name="connsiteY7" fmla="*/ 890946 h 6096646"/>
              <a:gd name="connsiteX8" fmla="*/ 2758520 w 6983126"/>
              <a:gd name="connsiteY8" fmla="*/ 44668 h 6096646"/>
              <a:gd name="connsiteX9" fmla="*/ 4737581 w 6983126"/>
              <a:gd name="connsiteY9" fmla="*/ 181833 h 6096646"/>
              <a:gd name="connsiteX10" fmla="*/ 5304848 w 6983126"/>
              <a:gd name="connsiteY10" fmla="*/ 588232 h 6096646"/>
              <a:gd name="connsiteX11" fmla="*/ 5614266 w 6983126"/>
              <a:gd name="connsiteY11" fmla="*/ 890946 h 6096646"/>
              <a:gd name="connsiteX12" fmla="*/ 5685848 w 6983126"/>
              <a:gd name="connsiteY12" fmla="*/ 1307900 h 6096646"/>
              <a:gd name="connsiteX13" fmla="*/ 6811915 w 6983126"/>
              <a:gd name="connsiteY13" fmla="*/ 1646566 h 6096646"/>
              <a:gd name="connsiteX14" fmla="*/ 6974920 w 6983126"/>
              <a:gd name="connsiteY14" fmla="*/ 2203669 h 6096646"/>
              <a:gd name="connsiteX15" fmla="*/ 6879647 w 6983126"/>
              <a:gd name="connsiteY15" fmla="*/ 3348366 h 6096646"/>
              <a:gd name="connsiteX16" fmla="*/ 6401667 w 6983126"/>
              <a:gd name="connsiteY16" fmla="*/ 3972814 h 6096646"/>
              <a:gd name="connsiteX17" fmla="*/ 5855893 w 6983126"/>
              <a:gd name="connsiteY17" fmla="*/ 3903129 h 6096646"/>
              <a:gd name="connsiteX18" fmla="*/ 5505441 w 6983126"/>
              <a:gd name="connsiteY18" fmla="*/ 4361761 h 6096646"/>
              <a:gd name="connsiteX19" fmla="*/ 5212843 w 6983126"/>
              <a:gd name="connsiteY19" fmla="*/ 4661818 h 6096646"/>
              <a:gd name="connsiteX20" fmla="*/ 5021600 w 6983126"/>
              <a:gd name="connsiteY20" fmla="*/ 5281891 h 6096646"/>
              <a:gd name="connsiteX21" fmla="*/ 4449123 w 6983126"/>
              <a:gd name="connsiteY21" fmla="*/ 5614694 h 6096646"/>
              <a:gd name="connsiteX22" fmla="*/ 4007681 w 6983126"/>
              <a:gd name="connsiteY22" fmla="*/ 5582521 h 6096646"/>
              <a:gd name="connsiteX23" fmla="*/ 3548339 w 6983126"/>
              <a:gd name="connsiteY23" fmla="*/ 5319795 h 6096646"/>
              <a:gd name="connsiteX24" fmla="*/ 2939451 w 6983126"/>
              <a:gd name="connsiteY24" fmla="*/ 5612742 h 6096646"/>
              <a:gd name="connsiteX25" fmla="*/ 2485508 w 6983126"/>
              <a:gd name="connsiteY25" fmla="*/ 5831573 h 6096646"/>
              <a:gd name="connsiteX26" fmla="*/ 1774900 w 6983126"/>
              <a:gd name="connsiteY26" fmla="*/ 6040766 h 6096646"/>
              <a:gd name="connsiteX27" fmla="*/ 1014263 w 6983126"/>
              <a:gd name="connsiteY27" fmla="*/ 6078411 h 6096646"/>
              <a:gd name="connsiteX28" fmla="*/ 212534 w 6983126"/>
              <a:gd name="connsiteY28" fmla="*/ 5725416 h 6096646"/>
              <a:gd name="connsiteX29" fmla="*/ 49186 w 6983126"/>
              <a:gd name="connsiteY29" fmla="*/ 4184868 h 6096646"/>
              <a:gd name="connsiteX0" fmla="*/ 49186 w 6983126"/>
              <a:gd name="connsiteY0" fmla="*/ 4184868 h 6096646"/>
              <a:gd name="connsiteX1" fmla="*/ 588915 w 6983126"/>
              <a:gd name="connsiteY1" fmla="*/ 2586365 h 6096646"/>
              <a:gd name="connsiteX2" fmla="*/ 820830 w 6983126"/>
              <a:gd name="connsiteY2" fmla="*/ 2308788 h 6096646"/>
              <a:gd name="connsiteX3" fmla="*/ 1105382 w 6983126"/>
              <a:gd name="connsiteY3" fmla="*/ 2137631 h 6096646"/>
              <a:gd name="connsiteX4" fmla="*/ 2375382 w 6983126"/>
              <a:gd name="connsiteY4" fmla="*/ 1782032 h 6096646"/>
              <a:gd name="connsiteX5" fmla="*/ 2714048 w 6983126"/>
              <a:gd name="connsiteY5" fmla="*/ 1485699 h 6096646"/>
              <a:gd name="connsiteX6" fmla="*/ 2747913 w 6983126"/>
              <a:gd name="connsiteY6" fmla="*/ 1147033 h 6096646"/>
              <a:gd name="connsiteX7" fmla="*/ 2693267 w 6983126"/>
              <a:gd name="connsiteY7" fmla="*/ 890946 h 6096646"/>
              <a:gd name="connsiteX8" fmla="*/ 2758520 w 6983126"/>
              <a:gd name="connsiteY8" fmla="*/ 44668 h 6096646"/>
              <a:gd name="connsiteX9" fmla="*/ 4737581 w 6983126"/>
              <a:gd name="connsiteY9" fmla="*/ 181833 h 6096646"/>
              <a:gd name="connsiteX10" fmla="*/ 5304848 w 6983126"/>
              <a:gd name="connsiteY10" fmla="*/ 588232 h 6096646"/>
              <a:gd name="connsiteX11" fmla="*/ 5614266 w 6983126"/>
              <a:gd name="connsiteY11" fmla="*/ 890946 h 6096646"/>
              <a:gd name="connsiteX12" fmla="*/ 5685848 w 6983126"/>
              <a:gd name="connsiteY12" fmla="*/ 1307900 h 6096646"/>
              <a:gd name="connsiteX13" fmla="*/ 6811915 w 6983126"/>
              <a:gd name="connsiteY13" fmla="*/ 1646566 h 6096646"/>
              <a:gd name="connsiteX14" fmla="*/ 6974920 w 6983126"/>
              <a:gd name="connsiteY14" fmla="*/ 2203669 h 6096646"/>
              <a:gd name="connsiteX15" fmla="*/ 6879647 w 6983126"/>
              <a:gd name="connsiteY15" fmla="*/ 3348366 h 6096646"/>
              <a:gd name="connsiteX16" fmla="*/ 6401667 w 6983126"/>
              <a:gd name="connsiteY16" fmla="*/ 3972814 h 6096646"/>
              <a:gd name="connsiteX17" fmla="*/ 5914508 w 6983126"/>
              <a:gd name="connsiteY17" fmla="*/ 4172760 h 6096646"/>
              <a:gd name="connsiteX18" fmla="*/ 5505441 w 6983126"/>
              <a:gd name="connsiteY18" fmla="*/ 4361761 h 6096646"/>
              <a:gd name="connsiteX19" fmla="*/ 5212843 w 6983126"/>
              <a:gd name="connsiteY19" fmla="*/ 4661818 h 6096646"/>
              <a:gd name="connsiteX20" fmla="*/ 5021600 w 6983126"/>
              <a:gd name="connsiteY20" fmla="*/ 5281891 h 6096646"/>
              <a:gd name="connsiteX21" fmla="*/ 4449123 w 6983126"/>
              <a:gd name="connsiteY21" fmla="*/ 5614694 h 6096646"/>
              <a:gd name="connsiteX22" fmla="*/ 4007681 w 6983126"/>
              <a:gd name="connsiteY22" fmla="*/ 5582521 h 6096646"/>
              <a:gd name="connsiteX23" fmla="*/ 3548339 w 6983126"/>
              <a:gd name="connsiteY23" fmla="*/ 5319795 h 6096646"/>
              <a:gd name="connsiteX24" fmla="*/ 2939451 w 6983126"/>
              <a:gd name="connsiteY24" fmla="*/ 5612742 h 6096646"/>
              <a:gd name="connsiteX25" fmla="*/ 2485508 w 6983126"/>
              <a:gd name="connsiteY25" fmla="*/ 5831573 h 6096646"/>
              <a:gd name="connsiteX26" fmla="*/ 1774900 w 6983126"/>
              <a:gd name="connsiteY26" fmla="*/ 6040766 h 6096646"/>
              <a:gd name="connsiteX27" fmla="*/ 1014263 w 6983126"/>
              <a:gd name="connsiteY27" fmla="*/ 6078411 h 6096646"/>
              <a:gd name="connsiteX28" fmla="*/ 212534 w 6983126"/>
              <a:gd name="connsiteY28" fmla="*/ 5725416 h 6096646"/>
              <a:gd name="connsiteX29" fmla="*/ 49186 w 6983126"/>
              <a:gd name="connsiteY29" fmla="*/ 4184868 h 6096646"/>
              <a:gd name="connsiteX0" fmla="*/ 49186 w 6983126"/>
              <a:gd name="connsiteY0" fmla="*/ 4184868 h 6096646"/>
              <a:gd name="connsiteX1" fmla="*/ 588915 w 6983126"/>
              <a:gd name="connsiteY1" fmla="*/ 2586365 h 6096646"/>
              <a:gd name="connsiteX2" fmla="*/ 820830 w 6983126"/>
              <a:gd name="connsiteY2" fmla="*/ 2308788 h 6096646"/>
              <a:gd name="connsiteX3" fmla="*/ 1105382 w 6983126"/>
              <a:gd name="connsiteY3" fmla="*/ 2137631 h 6096646"/>
              <a:gd name="connsiteX4" fmla="*/ 2375382 w 6983126"/>
              <a:gd name="connsiteY4" fmla="*/ 1782032 h 6096646"/>
              <a:gd name="connsiteX5" fmla="*/ 2714048 w 6983126"/>
              <a:gd name="connsiteY5" fmla="*/ 1485699 h 6096646"/>
              <a:gd name="connsiteX6" fmla="*/ 2747913 w 6983126"/>
              <a:gd name="connsiteY6" fmla="*/ 1147033 h 6096646"/>
              <a:gd name="connsiteX7" fmla="*/ 2693267 w 6983126"/>
              <a:gd name="connsiteY7" fmla="*/ 890946 h 6096646"/>
              <a:gd name="connsiteX8" fmla="*/ 2758520 w 6983126"/>
              <a:gd name="connsiteY8" fmla="*/ 44668 h 6096646"/>
              <a:gd name="connsiteX9" fmla="*/ 4737581 w 6983126"/>
              <a:gd name="connsiteY9" fmla="*/ 181833 h 6096646"/>
              <a:gd name="connsiteX10" fmla="*/ 5304848 w 6983126"/>
              <a:gd name="connsiteY10" fmla="*/ 588232 h 6096646"/>
              <a:gd name="connsiteX11" fmla="*/ 5614266 w 6983126"/>
              <a:gd name="connsiteY11" fmla="*/ 890946 h 6096646"/>
              <a:gd name="connsiteX12" fmla="*/ 5685848 w 6983126"/>
              <a:gd name="connsiteY12" fmla="*/ 1307900 h 6096646"/>
              <a:gd name="connsiteX13" fmla="*/ 6811915 w 6983126"/>
              <a:gd name="connsiteY13" fmla="*/ 1646566 h 6096646"/>
              <a:gd name="connsiteX14" fmla="*/ 6974920 w 6983126"/>
              <a:gd name="connsiteY14" fmla="*/ 2203669 h 6096646"/>
              <a:gd name="connsiteX15" fmla="*/ 6879647 w 6983126"/>
              <a:gd name="connsiteY15" fmla="*/ 3348366 h 6096646"/>
              <a:gd name="connsiteX16" fmla="*/ 6389943 w 6983126"/>
              <a:gd name="connsiteY16" fmla="*/ 3843860 h 6096646"/>
              <a:gd name="connsiteX17" fmla="*/ 5914508 w 6983126"/>
              <a:gd name="connsiteY17" fmla="*/ 4172760 h 6096646"/>
              <a:gd name="connsiteX18" fmla="*/ 5505441 w 6983126"/>
              <a:gd name="connsiteY18" fmla="*/ 4361761 h 6096646"/>
              <a:gd name="connsiteX19" fmla="*/ 5212843 w 6983126"/>
              <a:gd name="connsiteY19" fmla="*/ 4661818 h 6096646"/>
              <a:gd name="connsiteX20" fmla="*/ 5021600 w 6983126"/>
              <a:gd name="connsiteY20" fmla="*/ 5281891 h 6096646"/>
              <a:gd name="connsiteX21" fmla="*/ 4449123 w 6983126"/>
              <a:gd name="connsiteY21" fmla="*/ 5614694 h 6096646"/>
              <a:gd name="connsiteX22" fmla="*/ 4007681 w 6983126"/>
              <a:gd name="connsiteY22" fmla="*/ 5582521 h 6096646"/>
              <a:gd name="connsiteX23" fmla="*/ 3548339 w 6983126"/>
              <a:gd name="connsiteY23" fmla="*/ 5319795 h 6096646"/>
              <a:gd name="connsiteX24" fmla="*/ 2939451 w 6983126"/>
              <a:gd name="connsiteY24" fmla="*/ 5612742 h 6096646"/>
              <a:gd name="connsiteX25" fmla="*/ 2485508 w 6983126"/>
              <a:gd name="connsiteY25" fmla="*/ 5831573 h 6096646"/>
              <a:gd name="connsiteX26" fmla="*/ 1774900 w 6983126"/>
              <a:gd name="connsiteY26" fmla="*/ 6040766 h 6096646"/>
              <a:gd name="connsiteX27" fmla="*/ 1014263 w 6983126"/>
              <a:gd name="connsiteY27" fmla="*/ 6078411 h 6096646"/>
              <a:gd name="connsiteX28" fmla="*/ 212534 w 6983126"/>
              <a:gd name="connsiteY28" fmla="*/ 5725416 h 6096646"/>
              <a:gd name="connsiteX29" fmla="*/ 49186 w 6983126"/>
              <a:gd name="connsiteY29" fmla="*/ 4184868 h 6096646"/>
              <a:gd name="connsiteX0" fmla="*/ 49186 w 6983126"/>
              <a:gd name="connsiteY0" fmla="*/ 4184868 h 6096646"/>
              <a:gd name="connsiteX1" fmla="*/ 588915 w 6983126"/>
              <a:gd name="connsiteY1" fmla="*/ 2586365 h 6096646"/>
              <a:gd name="connsiteX2" fmla="*/ 820830 w 6983126"/>
              <a:gd name="connsiteY2" fmla="*/ 2308788 h 6096646"/>
              <a:gd name="connsiteX3" fmla="*/ 1105382 w 6983126"/>
              <a:gd name="connsiteY3" fmla="*/ 2137631 h 6096646"/>
              <a:gd name="connsiteX4" fmla="*/ 2375382 w 6983126"/>
              <a:gd name="connsiteY4" fmla="*/ 1782032 h 6096646"/>
              <a:gd name="connsiteX5" fmla="*/ 2714048 w 6983126"/>
              <a:gd name="connsiteY5" fmla="*/ 1485699 h 6096646"/>
              <a:gd name="connsiteX6" fmla="*/ 2747913 w 6983126"/>
              <a:gd name="connsiteY6" fmla="*/ 1147033 h 6096646"/>
              <a:gd name="connsiteX7" fmla="*/ 2693267 w 6983126"/>
              <a:gd name="connsiteY7" fmla="*/ 890946 h 6096646"/>
              <a:gd name="connsiteX8" fmla="*/ 2758520 w 6983126"/>
              <a:gd name="connsiteY8" fmla="*/ 44668 h 6096646"/>
              <a:gd name="connsiteX9" fmla="*/ 4737581 w 6983126"/>
              <a:gd name="connsiteY9" fmla="*/ 181833 h 6096646"/>
              <a:gd name="connsiteX10" fmla="*/ 5304848 w 6983126"/>
              <a:gd name="connsiteY10" fmla="*/ 588232 h 6096646"/>
              <a:gd name="connsiteX11" fmla="*/ 5614266 w 6983126"/>
              <a:gd name="connsiteY11" fmla="*/ 890946 h 6096646"/>
              <a:gd name="connsiteX12" fmla="*/ 5685848 w 6983126"/>
              <a:gd name="connsiteY12" fmla="*/ 1307900 h 6096646"/>
              <a:gd name="connsiteX13" fmla="*/ 6811915 w 6983126"/>
              <a:gd name="connsiteY13" fmla="*/ 1646566 h 6096646"/>
              <a:gd name="connsiteX14" fmla="*/ 6974920 w 6983126"/>
              <a:gd name="connsiteY14" fmla="*/ 2203669 h 6096646"/>
              <a:gd name="connsiteX15" fmla="*/ 6879647 w 6983126"/>
              <a:gd name="connsiteY15" fmla="*/ 3348366 h 6096646"/>
              <a:gd name="connsiteX16" fmla="*/ 6472005 w 6983126"/>
              <a:gd name="connsiteY16" fmla="*/ 3896614 h 6096646"/>
              <a:gd name="connsiteX17" fmla="*/ 5914508 w 6983126"/>
              <a:gd name="connsiteY17" fmla="*/ 4172760 h 6096646"/>
              <a:gd name="connsiteX18" fmla="*/ 5505441 w 6983126"/>
              <a:gd name="connsiteY18" fmla="*/ 4361761 h 6096646"/>
              <a:gd name="connsiteX19" fmla="*/ 5212843 w 6983126"/>
              <a:gd name="connsiteY19" fmla="*/ 4661818 h 6096646"/>
              <a:gd name="connsiteX20" fmla="*/ 5021600 w 6983126"/>
              <a:gd name="connsiteY20" fmla="*/ 5281891 h 6096646"/>
              <a:gd name="connsiteX21" fmla="*/ 4449123 w 6983126"/>
              <a:gd name="connsiteY21" fmla="*/ 5614694 h 6096646"/>
              <a:gd name="connsiteX22" fmla="*/ 4007681 w 6983126"/>
              <a:gd name="connsiteY22" fmla="*/ 5582521 h 6096646"/>
              <a:gd name="connsiteX23" fmla="*/ 3548339 w 6983126"/>
              <a:gd name="connsiteY23" fmla="*/ 5319795 h 6096646"/>
              <a:gd name="connsiteX24" fmla="*/ 2939451 w 6983126"/>
              <a:gd name="connsiteY24" fmla="*/ 5612742 h 6096646"/>
              <a:gd name="connsiteX25" fmla="*/ 2485508 w 6983126"/>
              <a:gd name="connsiteY25" fmla="*/ 5831573 h 6096646"/>
              <a:gd name="connsiteX26" fmla="*/ 1774900 w 6983126"/>
              <a:gd name="connsiteY26" fmla="*/ 6040766 h 6096646"/>
              <a:gd name="connsiteX27" fmla="*/ 1014263 w 6983126"/>
              <a:gd name="connsiteY27" fmla="*/ 6078411 h 6096646"/>
              <a:gd name="connsiteX28" fmla="*/ 212534 w 6983126"/>
              <a:gd name="connsiteY28" fmla="*/ 5725416 h 6096646"/>
              <a:gd name="connsiteX29" fmla="*/ 49186 w 6983126"/>
              <a:gd name="connsiteY29" fmla="*/ 4184868 h 6096646"/>
              <a:gd name="connsiteX0" fmla="*/ 49186 w 6983126"/>
              <a:gd name="connsiteY0" fmla="*/ 4184868 h 6096646"/>
              <a:gd name="connsiteX1" fmla="*/ 588915 w 6983126"/>
              <a:gd name="connsiteY1" fmla="*/ 2586365 h 6096646"/>
              <a:gd name="connsiteX2" fmla="*/ 820830 w 6983126"/>
              <a:gd name="connsiteY2" fmla="*/ 2308788 h 6096646"/>
              <a:gd name="connsiteX3" fmla="*/ 1105382 w 6983126"/>
              <a:gd name="connsiteY3" fmla="*/ 2137631 h 6096646"/>
              <a:gd name="connsiteX4" fmla="*/ 2375382 w 6983126"/>
              <a:gd name="connsiteY4" fmla="*/ 1782032 h 6096646"/>
              <a:gd name="connsiteX5" fmla="*/ 2714048 w 6983126"/>
              <a:gd name="connsiteY5" fmla="*/ 1485699 h 6096646"/>
              <a:gd name="connsiteX6" fmla="*/ 2747913 w 6983126"/>
              <a:gd name="connsiteY6" fmla="*/ 1147033 h 6096646"/>
              <a:gd name="connsiteX7" fmla="*/ 2693267 w 6983126"/>
              <a:gd name="connsiteY7" fmla="*/ 890946 h 6096646"/>
              <a:gd name="connsiteX8" fmla="*/ 2758520 w 6983126"/>
              <a:gd name="connsiteY8" fmla="*/ 44668 h 6096646"/>
              <a:gd name="connsiteX9" fmla="*/ 4737581 w 6983126"/>
              <a:gd name="connsiteY9" fmla="*/ 181833 h 6096646"/>
              <a:gd name="connsiteX10" fmla="*/ 5304848 w 6983126"/>
              <a:gd name="connsiteY10" fmla="*/ 588232 h 6096646"/>
              <a:gd name="connsiteX11" fmla="*/ 5614266 w 6983126"/>
              <a:gd name="connsiteY11" fmla="*/ 890946 h 6096646"/>
              <a:gd name="connsiteX12" fmla="*/ 5685848 w 6983126"/>
              <a:gd name="connsiteY12" fmla="*/ 1307900 h 6096646"/>
              <a:gd name="connsiteX13" fmla="*/ 6811915 w 6983126"/>
              <a:gd name="connsiteY13" fmla="*/ 1646566 h 6096646"/>
              <a:gd name="connsiteX14" fmla="*/ 6974920 w 6983126"/>
              <a:gd name="connsiteY14" fmla="*/ 2203669 h 6096646"/>
              <a:gd name="connsiteX15" fmla="*/ 6563124 w 6983126"/>
              <a:gd name="connsiteY15" fmla="*/ 3295612 h 6096646"/>
              <a:gd name="connsiteX16" fmla="*/ 6472005 w 6983126"/>
              <a:gd name="connsiteY16" fmla="*/ 3896614 h 6096646"/>
              <a:gd name="connsiteX17" fmla="*/ 5914508 w 6983126"/>
              <a:gd name="connsiteY17" fmla="*/ 4172760 h 6096646"/>
              <a:gd name="connsiteX18" fmla="*/ 5505441 w 6983126"/>
              <a:gd name="connsiteY18" fmla="*/ 4361761 h 6096646"/>
              <a:gd name="connsiteX19" fmla="*/ 5212843 w 6983126"/>
              <a:gd name="connsiteY19" fmla="*/ 4661818 h 6096646"/>
              <a:gd name="connsiteX20" fmla="*/ 5021600 w 6983126"/>
              <a:gd name="connsiteY20" fmla="*/ 5281891 h 6096646"/>
              <a:gd name="connsiteX21" fmla="*/ 4449123 w 6983126"/>
              <a:gd name="connsiteY21" fmla="*/ 5614694 h 6096646"/>
              <a:gd name="connsiteX22" fmla="*/ 4007681 w 6983126"/>
              <a:gd name="connsiteY22" fmla="*/ 5582521 h 6096646"/>
              <a:gd name="connsiteX23" fmla="*/ 3548339 w 6983126"/>
              <a:gd name="connsiteY23" fmla="*/ 5319795 h 6096646"/>
              <a:gd name="connsiteX24" fmla="*/ 2939451 w 6983126"/>
              <a:gd name="connsiteY24" fmla="*/ 5612742 h 6096646"/>
              <a:gd name="connsiteX25" fmla="*/ 2485508 w 6983126"/>
              <a:gd name="connsiteY25" fmla="*/ 5831573 h 6096646"/>
              <a:gd name="connsiteX26" fmla="*/ 1774900 w 6983126"/>
              <a:gd name="connsiteY26" fmla="*/ 6040766 h 6096646"/>
              <a:gd name="connsiteX27" fmla="*/ 1014263 w 6983126"/>
              <a:gd name="connsiteY27" fmla="*/ 6078411 h 6096646"/>
              <a:gd name="connsiteX28" fmla="*/ 212534 w 6983126"/>
              <a:gd name="connsiteY28" fmla="*/ 5725416 h 6096646"/>
              <a:gd name="connsiteX29" fmla="*/ 49186 w 6983126"/>
              <a:gd name="connsiteY29" fmla="*/ 4184868 h 6096646"/>
              <a:gd name="connsiteX0" fmla="*/ 49186 w 6983126"/>
              <a:gd name="connsiteY0" fmla="*/ 4184868 h 6096646"/>
              <a:gd name="connsiteX1" fmla="*/ 588915 w 6983126"/>
              <a:gd name="connsiteY1" fmla="*/ 2586365 h 6096646"/>
              <a:gd name="connsiteX2" fmla="*/ 820830 w 6983126"/>
              <a:gd name="connsiteY2" fmla="*/ 2308788 h 6096646"/>
              <a:gd name="connsiteX3" fmla="*/ 1105382 w 6983126"/>
              <a:gd name="connsiteY3" fmla="*/ 2137631 h 6096646"/>
              <a:gd name="connsiteX4" fmla="*/ 2375382 w 6983126"/>
              <a:gd name="connsiteY4" fmla="*/ 1782032 h 6096646"/>
              <a:gd name="connsiteX5" fmla="*/ 2714048 w 6983126"/>
              <a:gd name="connsiteY5" fmla="*/ 1485699 h 6096646"/>
              <a:gd name="connsiteX6" fmla="*/ 2747913 w 6983126"/>
              <a:gd name="connsiteY6" fmla="*/ 1147033 h 6096646"/>
              <a:gd name="connsiteX7" fmla="*/ 2693267 w 6983126"/>
              <a:gd name="connsiteY7" fmla="*/ 890946 h 6096646"/>
              <a:gd name="connsiteX8" fmla="*/ 2758520 w 6983126"/>
              <a:gd name="connsiteY8" fmla="*/ 44668 h 6096646"/>
              <a:gd name="connsiteX9" fmla="*/ 4737581 w 6983126"/>
              <a:gd name="connsiteY9" fmla="*/ 181833 h 6096646"/>
              <a:gd name="connsiteX10" fmla="*/ 5304848 w 6983126"/>
              <a:gd name="connsiteY10" fmla="*/ 588232 h 6096646"/>
              <a:gd name="connsiteX11" fmla="*/ 5614266 w 6983126"/>
              <a:gd name="connsiteY11" fmla="*/ 890946 h 6096646"/>
              <a:gd name="connsiteX12" fmla="*/ 5685848 w 6983126"/>
              <a:gd name="connsiteY12" fmla="*/ 1307900 h 6096646"/>
              <a:gd name="connsiteX13" fmla="*/ 6811915 w 6983126"/>
              <a:gd name="connsiteY13" fmla="*/ 1646566 h 6096646"/>
              <a:gd name="connsiteX14" fmla="*/ 6974920 w 6983126"/>
              <a:gd name="connsiteY14" fmla="*/ 2203669 h 6096646"/>
              <a:gd name="connsiteX15" fmla="*/ 6826894 w 6983126"/>
              <a:gd name="connsiteY15" fmla="*/ 3424566 h 6096646"/>
              <a:gd name="connsiteX16" fmla="*/ 6472005 w 6983126"/>
              <a:gd name="connsiteY16" fmla="*/ 3896614 h 6096646"/>
              <a:gd name="connsiteX17" fmla="*/ 5914508 w 6983126"/>
              <a:gd name="connsiteY17" fmla="*/ 4172760 h 6096646"/>
              <a:gd name="connsiteX18" fmla="*/ 5505441 w 6983126"/>
              <a:gd name="connsiteY18" fmla="*/ 4361761 h 6096646"/>
              <a:gd name="connsiteX19" fmla="*/ 5212843 w 6983126"/>
              <a:gd name="connsiteY19" fmla="*/ 4661818 h 6096646"/>
              <a:gd name="connsiteX20" fmla="*/ 5021600 w 6983126"/>
              <a:gd name="connsiteY20" fmla="*/ 5281891 h 6096646"/>
              <a:gd name="connsiteX21" fmla="*/ 4449123 w 6983126"/>
              <a:gd name="connsiteY21" fmla="*/ 5614694 h 6096646"/>
              <a:gd name="connsiteX22" fmla="*/ 4007681 w 6983126"/>
              <a:gd name="connsiteY22" fmla="*/ 5582521 h 6096646"/>
              <a:gd name="connsiteX23" fmla="*/ 3548339 w 6983126"/>
              <a:gd name="connsiteY23" fmla="*/ 5319795 h 6096646"/>
              <a:gd name="connsiteX24" fmla="*/ 2939451 w 6983126"/>
              <a:gd name="connsiteY24" fmla="*/ 5612742 h 6096646"/>
              <a:gd name="connsiteX25" fmla="*/ 2485508 w 6983126"/>
              <a:gd name="connsiteY25" fmla="*/ 5831573 h 6096646"/>
              <a:gd name="connsiteX26" fmla="*/ 1774900 w 6983126"/>
              <a:gd name="connsiteY26" fmla="*/ 6040766 h 6096646"/>
              <a:gd name="connsiteX27" fmla="*/ 1014263 w 6983126"/>
              <a:gd name="connsiteY27" fmla="*/ 6078411 h 6096646"/>
              <a:gd name="connsiteX28" fmla="*/ 212534 w 6983126"/>
              <a:gd name="connsiteY28" fmla="*/ 5725416 h 6096646"/>
              <a:gd name="connsiteX29" fmla="*/ 49186 w 6983126"/>
              <a:gd name="connsiteY29" fmla="*/ 4184868 h 6096646"/>
              <a:gd name="connsiteX0" fmla="*/ 49186 w 6983126"/>
              <a:gd name="connsiteY0" fmla="*/ 4184868 h 6096646"/>
              <a:gd name="connsiteX1" fmla="*/ 588915 w 6983126"/>
              <a:gd name="connsiteY1" fmla="*/ 2586365 h 6096646"/>
              <a:gd name="connsiteX2" fmla="*/ 820830 w 6983126"/>
              <a:gd name="connsiteY2" fmla="*/ 2308788 h 6096646"/>
              <a:gd name="connsiteX3" fmla="*/ 1105382 w 6983126"/>
              <a:gd name="connsiteY3" fmla="*/ 2137631 h 6096646"/>
              <a:gd name="connsiteX4" fmla="*/ 2375382 w 6983126"/>
              <a:gd name="connsiteY4" fmla="*/ 1782032 h 6096646"/>
              <a:gd name="connsiteX5" fmla="*/ 2714048 w 6983126"/>
              <a:gd name="connsiteY5" fmla="*/ 1485699 h 6096646"/>
              <a:gd name="connsiteX6" fmla="*/ 2747913 w 6983126"/>
              <a:gd name="connsiteY6" fmla="*/ 1147033 h 6096646"/>
              <a:gd name="connsiteX7" fmla="*/ 2693267 w 6983126"/>
              <a:gd name="connsiteY7" fmla="*/ 890946 h 6096646"/>
              <a:gd name="connsiteX8" fmla="*/ 2758520 w 6983126"/>
              <a:gd name="connsiteY8" fmla="*/ 44668 h 6096646"/>
              <a:gd name="connsiteX9" fmla="*/ 4737581 w 6983126"/>
              <a:gd name="connsiteY9" fmla="*/ 181833 h 6096646"/>
              <a:gd name="connsiteX10" fmla="*/ 5304848 w 6983126"/>
              <a:gd name="connsiteY10" fmla="*/ 588232 h 6096646"/>
              <a:gd name="connsiteX11" fmla="*/ 5614266 w 6983126"/>
              <a:gd name="connsiteY11" fmla="*/ 890946 h 6096646"/>
              <a:gd name="connsiteX12" fmla="*/ 5685848 w 6983126"/>
              <a:gd name="connsiteY12" fmla="*/ 1307900 h 6096646"/>
              <a:gd name="connsiteX13" fmla="*/ 6811915 w 6983126"/>
              <a:gd name="connsiteY13" fmla="*/ 1646566 h 6096646"/>
              <a:gd name="connsiteX14" fmla="*/ 6974920 w 6983126"/>
              <a:gd name="connsiteY14" fmla="*/ 2660869 h 6096646"/>
              <a:gd name="connsiteX15" fmla="*/ 6826894 w 6983126"/>
              <a:gd name="connsiteY15" fmla="*/ 3424566 h 6096646"/>
              <a:gd name="connsiteX16" fmla="*/ 6472005 w 6983126"/>
              <a:gd name="connsiteY16" fmla="*/ 3896614 h 6096646"/>
              <a:gd name="connsiteX17" fmla="*/ 5914508 w 6983126"/>
              <a:gd name="connsiteY17" fmla="*/ 4172760 h 6096646"/>
              <a:gd name="connsiteX18" fmla="*/ 5505441 w 6983126"/>
              <a:gd name="connsiteY18" fmla="*/ 4361761 h 6096646"/>
              <a:gd name="connsiteX19" fmla="*/ 5212843 w 6983126"/>
              <a:gd name="connsiteY19" fmla="*/ 4661818 h 6096646"/>
              <a:gd name="connsiteX20" fmla="*/ 5021600 w 6983126"/>
              <a:gd name="connsiteY20" fmla="*/ 5281891 h 6096646"/>
              <a:gd name="connsiteX21" fmla="*/ 4449123 w 6983126"/>
              <a:gd name="connsiteY21" fmla="*/ 5614694 h 6096646"/>
              <a:gd name="connsiteX22" fmla="*/ 4007681 w 6983126"/>
              <a:gd name="connsiteY22" fmla="*/ 5582521 h 6096646"/>
              <a:gd name="connsiteX23" fmla="*/ 3548339 w 6983126"/>
              <a:gd name="connsiteY23" fmla="*/ 5319795 h 6096646"/>
              <a:gd name="connsiteX24" fmla="*/ 2939451 w 6983126"/>
              <a:gd name="connsiteY24" fmla="*/ 5612742 h 6096646"/>
              <a:gd name="connsiteX25" fmla="*/ 2485508 w 6983126"/>
              <a:gd name="connsiteY25" fmla="*/ 5831573 h 6096646"/>
              <a:gd name="connsiteX26" fmla="*/ 1774900 w 6983126"/>
              <a:gd name="connsiteY26" fmla="*/ 6040766 h 6096646"/>
              <a:gd name="connsiteX27" fmla="*/ 1014263 w 6983126"/>
              <a:gd name="connsiteY27" fmla="*/ 6078411 h 6096646"/>
              <a:gd name="connsiteX28" fmla="*/ 212534 w 6983126"/>
              <a:gd name="connsiteY28" fmla="*/ 5725416 h 6096646"/>
              <a:gd name="connsiteX29" fmla="*/ 49186 w 6983126"/>
              <a:gd name="connsiteY29" fmla="*/ 4184868 h 6096646"/>
              <a:gd name="connsiteX0" fmla="*/ 49186 w 6974920"/>
              <a:gd name="connsiteY0" fmla="*/ 4184868 h 6096646"/>
              <a:gd name="connsiteX1" fmla="*/ 588915 w 6974920"/>
              <a:gd name="connsiteY1" fmla="*/ 2586365 h 6096646"/>
              <a:gd name="connsiteX2" fmla="*/ 820830 w 6974920"/>
              <a:gd name="connsiteY2" fmla="*/ 2308788 h 6096646"/>
              <a:gd name="connsiteX3" fmla="*/ 1105382 w 6974920"/>
              <a:gd name="connsiteY3" fmla="*/ 2137631 h 6096646"/>
              <a:gd name="connsiteX4" fmla="*/ 2375382 w 6974920"/>
              <a:gd name="connsiteY4" fmla="*/ 1782032 h 6096646"/>
              <a:gd name="connsiteX5" fmla="*/ 2714048 w 6974920"/>
              <a:gd name="connsiteY5" fmla="*/ 1485699 h 6096646"/>
              <a:gd name="connsiteX6" fmla="*/ 2747913 w 6974920"/>
              <a:gd name="connsiteY6" fmla="*/ 1147033 h 6096646"/>
              <a:gd name="connsiteX7" fmla="*/ 2693267 w 6974920"/>
              <a:gd name="connsiteY7" fmla="*/ 890946 h 6096646"/>
              <a:gd name="connsiteX8" fmla="*/ 2758520 w 6974920"/>
              <a:gd name="connsiteY8" fmla="*/ 44668 h 6096646"/>
              <a:gd name="connsiteX9" fmla="*/ 4737581 w 6974920"/>
              <a:gd name="connsiteY9" fmla="*/ 181833 h 6096646"/>
              <a:gd name="connsiteX10" fmla="*/ 5304848 w 6974920"/>
              <a:gd name="connsiteY10" fmla="*/ 588232 h 6096646"/>
              <a:gd name="connsiteX11" fmla="*/ 5614266 w 6974920"/>
              <a:gd name="connsiteY11" fmla="*/ 890946 h 6096646"/>
              <a:gd name="connsiteX12" fmla="*/ 5685848 w 6974920"/>
              <a:gd name="connsiteY12" fmla="*/ 1307900 h 6096646"/>
              <a:gd name="connsiteX13" fmla="*/ 6811915 w 6974920"/>
              <a:gd name="connsiteY13" fmla="*/ 1646566 h 6096646"/>
              <a:gd name="connsiteX14" fmla="*/ 6974920 w 6974920"/>
              <a:gd name="connsiteY14" fmla="*/ 2660869 h 6096646"/>
              <a:gd name="connsiteX15" fmla="*/ 6826894 w 6974920"/>
              <a:gd name="connsiteY15" fmla="*/ 3424566 h 6096646"/>
              <a:gd name="connsiteX16" fmla="*/ 6472005 w 6974920"/>
              <a:gd name="connsiteY16" fmla="*/ 3896614 h 6096646"/>
              <a:gd name="connsiteX17" fmla="*/ 5914508 w 6974920"/>
              <a:gd name="connsiteY17" fmla="*/ 4172760 h 6096646"/>
              <a:gd name="connsiteX18" fmla="*/ 5505441 w 6974920"/>
              <a:gd name="connsiteY18" fmla="*/ 4361761 h 6096646"/>
              <a:gd name="connsiteX19" fmla="*/ 5212843 w 6974920"/>
              <a:gd name="connsiteY19" fmla="*/ 4661818 h 6096646"/>
              <a:gd name="connsiteX20" fmla="*/ 5021600 w 6974920"/>
              <a:gd name="connsiteY20" fmla="*/ 5281891 h 6096646"/>
              <a:gd name="connsiteX21" fmla="*/ 4449123 w 6974920"/>
              <a:gd name="connsiteY21" fmla="*/ 5614694 h 6096646"/>
              <a:gd name="connsiteX22" fmla="*/ 4007681 w 6974920"/>
              <a:gd name="connsiteY22" fmla="*/ 5582521 h 6096646"/>
              <a:gd name="connsiteX23" fmla="*/ 3548339 w 6974920"/>
              <a:gd name="connsiteY23" fmla="*/ 5319795 h 6096646"/>
              <a:gd name="connsiteX24" fmla="*/ 2939451 w 6974920"/>
              <a:gd name="connsiteY24" fmla="*/ 5612742 h 6096646"/>
              <a:gd name="connsiteX25" fmla="*/ 2485508 w 6974920"/>
              <a:gd name="connsiteY25" fmla="*/ 5831573 h 6096646"/>
              <a:gd name="connsiteX26" fmla="*/ 1774900 w 6974920"/>
              <a:gd name="connsiteY26" fmla="*/ 6040766 h 6096646"/>
              <a:gd name="connsiteX27" fmla="*/ 1014263 w 6974920"/>
              <a:gd name="connsiteY27" fmla="*/ 6078411 h 6096646"/>
              <a:gd name="connsiteX28" fmla="*/ 212534 w 6974920"/>
              <a:gd name="connsiteY28" fmla="*/ 5725416 h 6096646"/>
              <a:gd name="connsiteX29" fmla="*/ 49186 w 6974920"/>
              <a:gd name="connsiteY29" fmla="*/ 4184868 h 6096646"/>
              <a:gd name="connsiteX0" fmla="*/ 49186 w 6939751"/>
              <a:gd name="connsiteY0" fmla="*/ 4184868 h 6096646"/>
              <a:gd name="connsiteX1" fmla="*/ 588915 w 6939751"/>
              <a:gd name="connsiteY1" fmla="*/ 2586365 h 6096646"/>
              <a:gd name="connsiteX2" fmla="*/ 820830 w 6939751"/>
              <a:gd name="connsiteY2" fmla="*/ 2308788 h 6096646"/>
              <a:gd name="connsiteX3" fmla="*/ 1105382 w 6939751"/>
              <a:gd name="connsiteY3" fmla="*/ 2137631 h 6096646"/>
              <a:gd name="connsiteX4" fmla="*/ 2375382 w 6939751"/>
              <a:gd name="connsiteY4" fmla="*/ 1782032 h 6096646"/>
              <a:gd name="connsiteX5" fmla="*/ 2714048 w 6939751"/>
              <a:gd name="connsiteY5" fmla="*/ 1485699 h 6096646"/>
              <a:gd name="connsiteX6" fmla="*/ 2747913 w 6939751"/>
              <a:gd name="connsiteY6" fmla="*/ 1147033 h 6096646"/>
              <a:gd name="connsiteX7" fmla="*/ 2693267 w 6939751"/>
              <a:gd name="connsiteY7" fmla="*/ 890946 h 6096646"/>
              <a:gd name="connsiteX8" fmla="*/ 2758520 w 6939751"/>
              <a:gd name="connsiteY8" fmla="*/ 44668 h 6096646"/>
              <a:gd name="connsiteX9" fmla="*/ 4737581 w 6939751"/>
              <a:gd name="connsiteY9" fmla="*/ 181833 h 6096646"/>
              <a:gd name="connsiteX10" fmla="*/ 5304848 w 6939751"/>
              <a:gd name="connsiteY10" fmla="*/ 588232 h 6096646"/>
              <a:gd name="connsiteX11" fmla="*/ 5614266 w 6939751"/>
              <a:gd name="connsiteY11" fmla="*/ 890946 h 6096646"/>
              <a:gd name="connsiteX12" fmla="*/ 5685848 w 6939751"/>
              <a:gd name="connsiteY12" fmla="*/ 1307900 h 6096646"/>
              <a:gd name="connsiteX13" fmla="*/ 6811915 w 6939751"/>
              <a:gd name="connsiteY13" fmla="*/ 1646566 h 6096646"/>
              <a:gd name="connsiteX14" fmla="*/ 6939751 w 6939751"/>
              <a:gd name="connsiteY14" fmla="*/ 2572946 h 6096646"/>
              <a:gd name="connsiteX15" fmla="*/ 6826894 w 6939751"/>
              <a:gd name="connsiteY15" fmla="*/ 3424566 h 6096646"/>
              <a:gd name="connsiteX16" fmla="*/ 6472005 w 6939751"/>
              <a:gd name="connsiteY16" fmla="*/ 3896614 h 6096646"/>
              <a:gd name="connsiteX17" fmla="*/ 5914508 w 6939751"/>
              <a:gd name="connsiteY17" fmla="*/ 4172760 h 6096646"/>
              <a:gd name="connsiteX18" fmla="*/ 5505441 w 6939751"/>
              <a:gd name="connsiteY18" fmla="*/ 4361761 h 6096646"/>
              <a:gd name="connsiteX19" fmla="*/ 5212843 w 6939751"/>
              <a:gd name="connsiteY19" fmla="*/ 4661818 h 6096646"/>
              <a:gd name="connsiteX20" fmla="*/ 5021600 w 6939751"/>
              <a:gd name="connsiteY20" fmla="*/ 5281891 h 6096646"/>
              <a:gd name="connsiteX21" fmla="*/ 4449123 w 6939751"/>
              <a:gd name="connsiteY21" fmla="*/ 5614694 h 6096646"/>
              <a:gd name="connsiteX22" fmla="*/ 4007681 w 6939751"/>
              <a:gd name="connsiteY22" fmla="*/ 5582521 h 6096646"/>
              <a:gd name="connsiteX23" fmla="*/ 3548339 w 6939751"/>
              <a:gd name="connsiteY23" fmla="*/ 5319795 h 6096646"/>
              <a:gd name="connsiteX24" fmla="*/ 2939451 w 6939751"/>
              <a:gd name="connsiteY24" fmla="*/ 5612742 h 6096646"/>
              <a:gd name="connsiteX25" fmla="*/ 2485508 w 6939751"/>
              <a:gd name="connsiteY25" fmla="*/ 5831573 h 6096646"/>
              <a:gd name="connsiteX26" fmla="*/ 1774900 w 6939751"/>
              <a:gd name="connsiteY26" fmla="*/ 6040766 h 6096646"/>
              <a:gd name="connsiteX27" fmla="*/ 1014263 w 6939751"/>
              <a:gd name="connsiteY27" fmla="*/ 6078411 h 6096646"/>
              <a:gd name="connsiteX28" fmla="*/ 212534 w 6939751"/>
              <a:gd name="connsiteY28" fmla="*/ 5725416 h 6096646"/>
              <a:gd name="connsiteX29" fmla="*/ 49186 w 6939751"/>
              <a:gd name="connsiteY29" fmla="*/ 4184868 h 6096646"/>
              <a:gd name="connsiteX0" fmla="*/ 49186 w 6948468"/>
              <a:gd name="connsiteY0" fmla="*/ 4184868 h 6096646"/>
              <a:gd name="connsiteX1" fmla="*/ 588915 w 6948468"/>
              <a:gd name="connsiteY1" fmla="*/ 2586365 h 6096646"/>
              <a:gd name="connsiteX2" fmla="*/ 820830 w 6948468"/>
              <a:gd name="connsiteY2" fmla="*/ 2308788 h 6096646"/>
              <a:gd name="connsiteX3" fmla="*/ 1105382 w 6948468"/>
              <a:gd name="connsiteY3" fmla="*/ 2137631 h 6096646"/>
              <a:gd name="connsiteX4" fmla="*/ 2375382 w 6948468"/>
              <a:gd name="connsiteY4" fmla="*/ 1782032 h 6096646"/>
              <a:gd name="connsiteX5" fmla="*/ 2714048 w 6948468"/>
              <a:gd name="connsiteY5" fmla="*/ 1485699 h 6096646"/>
              <a:gd name="connsiteX6" fmla="*/ 2747913 w 6948468"/>
              <a:gd name="connsiteY6" fmla="*/ 1147033 h 6096646"/>
              <a:gd name="connsiteX7" fmla="*/ 2693267 w 6948468"/>
              <a:gd name="connsiteY7" fmla="*/ 890946 h 6096646"/>
              <a:gd name="connsiteX8" fmla="*/ 2758520 w 6948468"/>
              <a:gd name="connsiteY8" fmla="*/ 44668 h 6096646"/>
              <a:gd name="connsiteX9" fmla="*/ 4737581 w 6948468"/>
              <a:gd name="connsiteY9" fmla="*/ 181833 h 6096646"/>
              <a:gd name="connsiteX10" fmla="*/ 5304848 w 6948468"/>
              <a:gd name="connsiteY10" fmla="*/ 588232 h 6096646"/>
              <a:gd name="connsiteX11" fmla="*/ 5614266 w 6948468"/>
              <a:gd name="connsiteY11" fmla="*/ 890946 h 6096646"/>
              <a:gd name="connsiteX12" fmla="*/ 5685848 w 6948468"/>
              <a:gd name="connsiteY12" fmla="*/ 1307900 h 6096646"/>
              <a:gd name="connsiteX13" fmla="*/ 6811915 w 6948468"/>
              <a:gd name="connsiteY13" fmla="*/ 1646566 h 6096646"/>
              <a:gd name="connsiteX14" fmla="*/ 6939751 w 6948468"/>
              <a:gd name="connsiteY14" fmla="*/ 2572946 h 6096646"/>
              <a:gd name="connsiteX15" fmla="*/ 6826894 w 6948468"/>
              <a:gd name="connsiteY15" fmla="*/ 3424566 h 6096646"/>
              <a:gd name="connsiteX16" fmla="*/ 6472005 w 6948468"/>
              <a:gd name="connsiteY16" fmla="*/ 3896614 h 6096646"/>
              <a:gd name="connsiteX17" fmla="*/ 5914508 w 6948468"/>
              <a:gd name="connsiteY17" fmla="*/ 4172760 h 6096646"/>
              <a:gd name="connsiteX18" fmla="*/ 5505441 w 6948468"/>
              <a:gd name="connsiteY18" fmla="*/ 4361761 h 6096646"/>
              <a:gd name="connsiteX19" fmla="*/ 5212843 w 6948468"/>
              <a:gd name="connsiteY19" fmla="*/ 4661818 h 6096646"/>
              <a:gd name="connsiteX20" fmla="*/ 5021600 w 6948468"/>
              <a:gd name="connsiteY20" fmla="*/ 5281891 h 6096646"/>
              <a:gd name="connsiteX21" fmla="*/ 4449123 w 6948468"/>
              <a:gd name="connsiteY21" fmla="*/ 5614694 h 6096646"/>
              <a:gd name="connsiteX22" fmla="*/ 4007681 w 6948468"/>
              <a:gd name="connsiteY22" fmla="*/ 5582521 h 6096646"/>
              <a:gd name="connsiteX23" fmla="*/ 3548339 w 6948468"/>
              <a:gd name="connsiteY23" fmla="*/ 5319795 h 6096646"/>
              <a:gd name="connsiteX24" fmla="*/ 2939451 w 6948468"/>
              <a:gd name="connsiteY24" fmla="*/ 5612742 h 6096646"/>
              <a:gd name="connsiteX25" fmla="*/ 2485508 w 6948468"/>
              <a:gd name="connsiteY25" fmla="*/ 5831573 h 6096646"/>
              <a:gd name="connsiteX26" fmla="*/ 1774900 w 6948468"/>
              <a:gd name="connsiteY26" fmla="*/ 6040766 h 6096646"/>
              <a:gd name="connsiteX27" fmla="*/ 1014263 w 6948468"/>
              <a:gd name="connsiteY27" fmla="*/ 6078411 h 6096646"/>
              <a:gd name="connsiteX28" fmla="*/ 212534 w 6948468"/>
              <a:gd name="connsiteY28" fmla="*/ 5725416 h 6096646"/>
              <a:gd name="connsiteX29" fmla="*/ 49186 w 6948468"/>
              <a:gd name="connsiteY29" fmla="*/ 4184868 h 6096646"/>
              <a:gd name="connsiteX0" fmla="*/ 49186 w 6958646"/>
              <a:gd name="connsiteY0" fmla="*/ 4184868 h 6096646"/>
              <a:gd name="connsiteX1" fmla="*/ 588915 w 6958646"/>
              <a:gd name="connsiteY1" fmla="*/ 2586365 h 6096646"/>
              <a:gd name="connsiteX2" fmla="*/ 820830 w 6958646"/>
              <a:gd name="connsiteY2" fmla="*/ 2308788 h 6096646"/>
              <a:gd name="connsiteX3" fmla="*/ 1105382 w 6958646"/>
              <a:gd name="connsiteY3" fmla="*/ 2137631 h 6096646"/>
              <a:gd name="connsiteX4" fmla="*/ 2375382 w 6958646"/>
              <a:gd name="connsiteY4" fmla="*/ 1782032 h 6096646"/>
              <a:gd name="connsiteX5" fmla="*/ 2714048 w 6958646"/>
              <a:gd name="connsiteY5" fmla="*/ 1485699 h 6096646"/>
              <a:gd name="connsiteX6" fmla="*/ 2747913 w 6958646"/>
              <a:gd name="connsiteY6" fmla="*/ 1147033 h 6096646"/>
              <a:gd name="connsiteX7" fmla="*/ 2693267 w 6958646"/>
              <a:gd name="connsiteY7" fmla="*/ 890946 h 6096646"/>
              <a:gd name="connsiteX8" fmla="*/ 2758520 w 6958646"/>
              <a:gd name="connsiteY8" fmla="*/ 44668 h 6096646"/>
              <a:gd name="connsiteX9" fmla="*/ 4737581 w 6958646"/>
              <a:gd name="connsiteY9" fmla="*/ 181833 h 6096646"/>
              <a:gd name="connsiteX10" fmla="*/ 5304848 w 6958646"/>
              <a:gd name="connsiteY10" fmla="*/ 588232 h 6096646"/>
              <a:gd name="connsiteX11" fmla="*/ 5614266 w 6958646"/>
              <a:gd name="connsiteY11" fmla="*/ 890946 h 6096646"/>
              <a:gd name="connsiteX12" fmla="*/ 5685848 w 6958646"/>
              <a:gd name="connsiteY12" fmla="*/ 1307900 h 6096646"/>
              <a:gd name="connsiteX13" fmla="*/ 6811915 w 6958646"/>
              <a:gd name="connsiteY13" fmla="*/ 1646566 h 6096646"/>
              <a:gd name="connsiteX14" fmla="*/ 6951474 w 6958646"/>
              <a:gd name="connsiteY14" fmla="*/ 2543639 h 6096646"/>
              <a:gd name="connsiteX15" fmla="*/ 6826894 w 6958646"/>
              <a:gd name="connsiteY15" fmla="*/ 3424566 h 6096646"/>
              <a:gd name="connsiteX16" fmla="*/ 6472005 w 6958646"/>
              <a:gd name="connsiteY16" fmla="*/ 3896614 h 6096646"/>
              <a:gd name="connsiteX17" fmla="*/ 5914508 w 6958646"/>
              <a:gd name="connsiteY17" fmla="*/ 4172760 h 6096646"/>
              <a:gd name="connsiteX18" fmla="*/ 5505441 w 6958646"/>
              <a:gd name="connsiteY18" fmla="*/ 4361761 h 6096646"/>
              <a:gd name="connsiteX19" fmla="*/ 5212843 w 6958646"/>
              <a:gd name="connsiteY19" fmla="*/ 4661818 h 6096646"/>
              <a:gd name="connsiteX20" fmla="*/ 5021600 w 6958646"/>
              <a:gd name="connsiteY20" fmla="*/ 5281891 h 6096646"/>
              <a:gd name="connsiteX21" fmla="*/ 4449123 w 6958646"/>
              <a:gd name="connsiteY21" fmla="*/ 5614694 h 6096646"/>
              <a:gd name="connsiteX22" fmla="*/ 4007681 w 6958646"/>
              <a:gd name="connsiteY22" fmla="*/ 5582521 h 6096646"/>
              <a:gd name="connsiteX23" fmla="*/ 3548339 w 6958646"/>
              <a:gd name="connsiteY23" fmla="*/ 5319795 h 6096646"/>
              <a:gd name="connsiteX24" fmla="*/ 2939451 w 6958646"/>
              <a:gd name="connsiteY24" fmla="*/ 5612742 h 6096646"/>
              <a:gd name="connsiteX25" fmla="*/ 2485508 w 6958646"/>
              <a:gd name="connsiteY25" fmla="*/ 5831573 h 6096646"/>
              <a:gd name="connsiteX26" fmla="*/ 1774900 w 6958646"/>
              <a:gd name="connsiteY26" fmla="*/ 6040766 h 6096646"/>
              <a:gd name="connsiteX27" fmla="*/ 1014263 w 6958646"/>
              <a:gd name="connsiteY27" fmla="*/ 6078411 h 6096646"/>
              <a:gd name="connsiteX28" fmla="*/ 212534 w 6958646"/>
              <a:gd name="connsiteY28" fmla="*/ 5725416 h 6096646"/>
              <a:gd name="connsiteX29" fmla="*/ 49186 w 6958646"/>
              <a:gd name="connsiteY29" fmla="*/ 4184868 h 6096646"/>
              <a:gd name="connsiteX0" fmla="*/ 49186 w 6958646"/>
              <a:gd name="connsiteY0" fmla="*/ 4184868 h 6096646"/>
              <a:gd name="connsiteX1" fmla="*/ 588915 w 6958646"/>
              <a:gd name="connsiteY1" fmla="*/ 2586365 h 6096646"/>
              <a:gd name="connsiteX2" fmla="*/ 820830 w 6958646"/>
              <a:gd name="connsiteY2" fmla="*/ 2308788 h 6096646"/>
              <a:gd name="connsiteX3" fmla="*/ 1105382 w 6958646"/>
              <a:gd name="connsiteY3" fmla="*/ 2137631 h 6096646"/>
              <a:gd name="connsiteX4" fmla="*/ 2375382 w 6958646"/>
              <a:gd name="connsiteY4" fmla="*/ 1782032 h 6096646"/>
              <a:gd name="connsiteX5" fmla="*/ 2714048 w 6958646"/>
              <a:gd name="connsiteY5" fmla="*/ 1485699 h 6096646"/>
              <a:gd name="connsiteX6" fmla="*/ 2747913 w 6958646"/>
              <a:gd name="connsiteY6" fmla="*/ 1147033 h 6096646"/>
              <a:gd name="connsiteX7" fmla="*/ 2693267 w 6958646"/>
              <a:gd name="connsiteY7" fmla="*/ 890946 h 6096646"/>
              <a:gd name="connsiteX8" fmla="*/ 2758520 w 6958646"/>
              <a:gd name="connsiteY8" fmla="*/ 44668 h 6096646"/>
              <a:gd name="connsiteX9" fmla="*/ 4737581 w 6958646"/>
              <a:gd name="connsiteY9" fmla="*/ 181833 h 6096646"/>
              <a:gd name="connsiteX10" fmla="*/ 5304848 w 6958646"/>
              <a:gd name="connsiteY10" fmla="*/ 588232 h 6096646"/>
              <a:gd name="connsiteX11" fmla="*/ 5614266 w 6958646"/>
              <a:gd name="connsiteY11" fmla="*/ 890946 h 6096646"/>
              <a:gd name="connsiteX12" fmla="*/ 5685848 w 6958646"/>
              <a:gd name="connsiteY12" fmla="*/ 1307900 h 6096646"/>
              <a:gd name="connsiteX13" fmla="*/ 6811915 w 6958646"/>
              <a:gd name="connsiteY13" fmla="*/ 1646566 h 6096646"/>
              <a:gd name="connsiteX14" fmla="*/ 6951474 w 6958646"/>
              <a:gd name="connsiteY14" fmla="*/ 2543639 h 6096646"/>
              <a:gd name="connsiteX15" fmla="*/ 6826894 w 6958646"/>
              <a:gd name="connsiteY15" fmla="*/ 3424566 h 6096646"/>
              <a:gd name="connsiteX16" fmla="*/ 6472005 w 6958646"/>
              <a:gd name="connsiteY16" fmla="*/ 3896614 h 6096646"/>
              <a:gd name="connsiteX17" fmla="*/ 5914508 w 6958646"/>
              <a:gd name="connsiteY17" fmla="*/ 4172760 h 6096646"/>
              <a:gd name="connsiteX18" fmla="*/ 5505441 w 6958646"/>
              <a:gd name="connsiteY18" fmla="*/ 4361761 h 6096646"/>
              <a:gd name="connsiteX19" fmla="*/ 5212843 w 6958646"/>
              <a:gd name="connsiteY19" fmla="*/ 4661818 h 6096646"/>
              <a:gd name="connsiteX20" fmla="*/ 5021600 w 6958646"/>
              <a:gd name="connsiteY20" fmla="*/ 5281891 h 6096646"/>
              <a:gd name="connsiteX21" fmla="*/ 4449123 w 6958646"/>
              <a:gd name="connsiteY21" fmla="*/ 5614694 h 6096646"/>
              <a:gd name="connsiteX22" fmla="*/ 4007681 w 6958646"/>
              <a:gd name="connsiteY22" fmla="*/ 5582521 h 6096646"/>
              <a:gd name="connsiteX23" fmla="*/ 3548339 w 6958646"/>
              <a:gd name="connsiteY23" fmla="*/ 5319795 h 6096646"/>
              <a:gd name="connsiteX24" fmla="*/ 2939451 w 6958646"/>
              <a:gd name="connsiteY24" fmla="*/ 5612742 h 6096646"/>
              <a:gd name="connsiteX25" fmla="*/ 2485508 w 6958646"/>
              <a:gd name="connsiteY25" fmla="*/ 5831573 h 6096646"/>
              <a:gd name="connsiteX26" fmla="*/ 1774900 w 6958646"/>
              <a:gd name="connsiteY26" fmla="*/ 6040766 h 6096646"/>
              <a:gd name="connsiteX27" fmla="*/ 1014263 w 6958646"/>
              <a:gd name="connsiteY27" fmla="*/ 6078411 h 6096646"/>
              <a:gd name="connsiteX28" fmla="*/ 212534 w 6958646"/>
              <a:gd name="connsiteY28" fmla="*/ 5725416 h 6096646"/>
              <a:gd name="connsiteX29" fmla="*/ 49186 w 6958646"/>
              <a:gd name="connsiteY29" fmla="*/ 4184868 h 6096646"/>
              <a:gd name="connsiteX0" fmla="*/ 49186 w 6957300"/>
              <a:gd name="connsiteY0" fmla="*/ 4184868 h 6096646"/>
              <a:gd name="connsiteX1" fmla="*/ 588915 w 6957300"/>
              <a:gd name="connsiteY1" fmla="*/ 2586365 h 6096646"/>
              <a:gd name="connsiteX2" fmla="*/ 820830 w 6957300"/>
              <a:gd name="connsiteY2" fmla="*/ 2308788 h 6096646"/>
              <a:gd name="connsiteX3" fmla="*/ 1105382 w 6957300"/>
              <a:gd name="connsiteY3" fmla="*/ 2137631 h 6096646"/>
              <a:gd name="connsiteX4" fmla="*/ 2375382 w 6957300"/>
              <a:gd name="connsiteY4" fmla="*/ 1782032 h 6096646"/>
              <a:gd name="connsiteX5" fmla="*/ 2714048 w 6957300"/>
              <a:gd name="connsiteY5" fmla="*/ 1485699 h 6096646"/>
              <a:gd name="connsiteX6" fmla="*/ 2747913 w 6957300"/>
              <a:gd name="connsiteY6" fmla="*/ 1147033 h 6096646"/>
              <a:gd name="connsiteX7" fmla="*/ 2693267 w 6957300"/>
              <a:gd name="connsiteY7" fmla="*/ 890946 h 6096646"/>
              <a:gd name="connsiteX8" fmla="*/ 2758520 w 6957300"/>
              <a:gd name="connsiteY8" fmla="*/ 44668 h 6096646"/>
              <a:gd name="connsiteX9" fmla="*/ 4737581 w 6957300"/>
              <a:gd name="connsiteY9" fmla="*/ 181833 h 6096646"/>
              <a:gd name="connsiteX10" fmla="*/ 5304848 w 6957300"/>
              <a:gd name="connsiteY10" fmla="*/ 588232 h 6096646"/>
              <a:gd name="connsiteX11" fmla="*/ 5614266 w 6957300"/>
              <a:gd name="connsiteY11" fmla="*/ 890946 h 6096646"/>
              <a:gd name="connsiteX12" fmla="*/ 5685848 w 6957300"/>
              <a:gd name="connsiteY12" fmla="*/ 1307900 h 6096646"/>
              <a:gd name="connsiteX13" fmla="*/ 6811915 w 6957300"/>
              <a:gd name="connsiteY13" fmla="*/ 1646566 h 6096646"/>
              <a:gd name="connsiteX14" fmla="*/ 6951474 w 6957300"/>
              <a:gd name="connsiteY14" fmla="*/ 2543639 h 6096646"/>
              <a:gd name="connsiteX15" fmla="*/ 6826894 w 6957300"/>
              <a:gd name="connsiteY15" fmla="*/ 3424566 h 6096646"/>
              <a:gd name="connsiteX16" fmla="*/ 6472005 w 6957300"/>
              <a:gd name="connsiteY16" fmla="*/ 3896614 h 6096646"/>
              <a:gd name="connsiteX17" fmla="*/ 5914508 w 6957300"/>
              <a:gd name="connsiteY17" fmla="*/ 4172760 h 6096646"/>
              <a:gd name="connsiteX18" fmla="*/ 5505441 w 6957300"/>
              <a:gd name="connsiteY18" fmla="*/ 4361761 h 6096646"/>
              <a:gd name="connsiteX19" fmla="*/ 5212843 w 6957300"/>
              <a:gd name="connsiteY19" fmla="*/ 4661818 h 6096646"/>
              <a:gd name="connsiteX20" fmla="*/ 5021600 w 6957300"/>
              <a:gd name="connsiteY20" fmla="*/ 5281891 h 6096646"/>
              <a:gd name="connsiteX21" fmla="*/ 4449123 w 6957300"/>
              <a:gd name="connsiteY21" fmla="*/ 5614694 h 6096646"/>
              <a:gd name="connsiteX22" fmla="*/ 4007681 w 6957300"/>
              <a:gd name="connsiteY22" fmla="*/ 5582521 h 6096646"/>
              <a:gd name="connsiteX23" fmla="*/ 3548339 w 6957300"/>
              <a:gd name="connsiteY23" fmla="*/ 5319795 h 6096646"/>
              <a:gd name="connsiteX24" fmla="*/ 2939451 w 6957300"/>
              <a:gd name="connsiteY24" fmla="*/ 5612742 h 6096646"/>
              <a:gd name="connsiteX25" fmla="*/ 2485508 w 6957300"/>
              <a:gd name="connsiteY25" fmla="*/ 5831573 h 6096646"/>
              <a:gd name="connsiteX26" fmla="*/ 1774900 w 6957300"/>
              <a:gd name="connsiteY26" fmla="*/ 6040766 h 6096646"/>
              <a:gd name="connsiteX27" fmla="*/ 1014263 w 6957300"/>
              <a:gd name="connsiteY27" fmla="*/ 6078411 h 6096646"/>
              <a:gd name="connsiteX28" fmla="*/ 212534 w 6957300"/>
              <a:gd name="connsiteY28" fmla="*/ 5725416 h 6096646"/>
              <a:gd name="connsiteX29" fmla="*/ 49186 w 6957300"/>
              <a:gd name="connsiteY29" fmla="*/ 4184868 h 6096646"/>
              <a:gd name="connsiteX0" fmla="*/ 49186 w 6957300"/>
              <a:gd name="connsiteY0" fmla="*/ 4184868 h 6096646"/>
              <a:gd name="connsiteX1" fmla="*/ 588915 w 6957300"/>
              <a:gd name="connsiteY1" fmla="*/ 2586365 h 6096646"/>
              <a:gd name="connsiteX2" fmla="*/ 820830 w 6957300"/>
              <a:gd name="connsiteY2" fmla="*/ 2308788 h 6096646"/>
              <a:gd name="connsiteX3" fmla="*/ 1105382 w 6957300"/>
              <a:gd name="connsiteY3" fmla="*/ 2137631 h 6096646"/>
              <a:gd name="connsiteX4" fmla="*/ 2375382 w 6957300"/>
              <a:gd name="connsiteY4" fmla="*/ 1782032 h 6096646"/>
              <a:gd name="connsiteX5" fmla="*/ 2714048 w 6957300"/>
              <a:gd name="connsiteY5" fmla="*/ 1485699 h 6096646"/>
              <a:gd name="connsiteX6" fmla="*/ 2747913 w 6957300"/>
              <a:gd name="connsiteY6" fmla="*/ 1147033 h 6096646"/>
              <a:gd name="connsiteX7" fmla="*/ 2693267 w 6957300"/>
              <a:gd name="connsiteY7" fmla="*/ 890946 h 6096646"/>
              <a:gd name="connsiteX8" fmla="*/ 2758520 w 6957300"/>
              <a:gd name="connsiteY8" fmla="*/ 44668 h 6096646"/>
              <a:gd name="connsiteX9" fmla="*/ 4737581 w 6957300"/>
              <a:gd name="connsiteY9" fmla="*/ 181833 h 6096646"/>
              <a:gd name="connsiteX10" fmla="*/ 5304848 w 6957300"/>
              <a:gd name="connsiteY10" fmla="*/ 588232 h 6096646"/>
              <a:gd name="connsiteX11" fmla="*/ 5614266 w 6957300"/>
              <a:gd name="connsiteY11" fmla="*/ 890946 h 6096646"/>
              <a:gd name="connsiteX12" fmla="*/ 5685848 w 6957300"/>
              <a:gd name="connsiteY12" fmla="*/ 1307900 h 6096646"/>
              <a:gd name="connsiteX13" fmla="*/ 6811915 w 6957300"/>
              <a:gd name="connsiteY13" fmla="*/ 1646566 h 6096646"/>
              <a:gd name="connsiteX14" fmla="*/ 6951474 w 6957300"/>
              <a:gd name="connsiteY14" fmla="*/ 2543639 h 6096646"/>
              <a:gd name="connsiteX15" fmla="*/ 6826894 w 6957300"/>
              <a:gd name="connsiteY15" fmla="*/ 3424566 h 6096646"/>
              <a:gd name="connsiteX16" fmla="*/ 6472005 w 6957300"/>
              <a:gd name="connsiteY16" fmla="*/ 3896614 h 6096646"/>
              <a:gd name="connsiteX17" fmla="*/ 5914508 w 6957300"/>
              <a:gd name="connsiteY17" fmla="*/ 4172760 h 6096646"/>
              <a:gd name="connsiteX18" fmla="*/ 5505441 w 6957300"/>
              <a:gd name="connsiteY18" fmla="*/ 4361761 h 6096646"/>
              <a:gd name="connsiteX19" fmla="*/ 5212843 w 6957300"/>
              <a:gd name="connsiteY19" fmla="*/ 4661818 h 6096646"/>
              <a:gd name="connsiteX20" fmla="*/ 5021600 w 6957300"/>
              <a:gd name="connsiteY20" fmla="*/ 5281891 h 6096646"/>
              <a:gd name="connsiteX21" fmla="*/ 4449123 w 6957300"/>
              <a:gd name="connsiteY21" fmla="*/ 5614694 h 6096646"/>
              <a:gd name="connsiteX22" fmla="*/ 4007681 w 6957300"/>
              <a:gd name="connsiteY22" fmla="*/ 5582521 h 6096646"/>
              <a:gd name="connsiteX23" fmla="*/ 3548339 w 6957300"/>
              <a:gd name="connsiteY23" fmla="*/ 5319795 h 6096646"/>
              <a:gd name="connsiteX24" fmla="*/ 2939451 w 6957300"/>
              <a:gd name="connsiteY24" fmla="*/ 5612742 h 6096646"/>
              <a:gd name="connsiteX25" fmla="*/ 2485508 w 6957300"/>
              <a:gd name="connsiteY25" fmla="*/ 5831573 h 6096646"/>
              <a:gd name="connsiteX26" fmla="*/ 1774900 w 6957300"/>
              <a:gd name="connsiteY26" fmla="*/ 6040766 h 6096646"/>
              <a:gd name="connsiteX27" fmla="*/ 1014263 w 6957300"/>
              <a:gd name="connsiteY27" fmla="*/ 6078411 h 6096646"/>
              <a:gd name="connsiteX28" fmla="*/ 212534 w 6957300"/>
              <a:gd name="connsiteY28" fmla="*/ 5725416 h 6096646"/>
              <a:gd name="connsiteX29" fmla="*/ 49186 w 6957300"/>
              <a:gd name="connsiteY29" fmla="*/ 4184868 h 6096646"/>
              <a:gd name="connsiteX0" fmla="*/ 49186 w 6877849"/>
              <a:gd name="connsiteY0" fmla="*/ 4184868 h 6096646"/>
              <a:gd name="connsiteX1" fmla="*/ 588915 w 6877849"/>
              <a:gd name="connsiteY1" fmla="*/ 2586365 h 6096646"/>
              <a:gd name="connsiteX2" fmla="*/ 820830 w 6877849"/>
              <a:gd name="connsiteY2" fmla="*/ 2308788 h 6096646"/>
              <a:gd name="connsiteX3" fmla="*/ 1105382 w 6877849"/>
              <a:gd name="connsiteY3" fmla="*/ 2137631 h 6096646"/>
              <a:gd name="connsiteX4" fmla="*/ 2375382 w 6877849"/>
              <a:gd name="connsiteY4" fmla="*/ 1782032 h 6096646"/>
              <a:gd name="connsiteX5" fmla="*/ 2714048 w 6877849"/>
              <a:gd name="connsiteY5" fmla="*/ 1485699 h 6096646"/>
              <a:gd name="connsiteX6" fmla="*/ 2747913 w 6877849"/>
              <a:gd name="connsiteY6" fmla="*/ 1147033 h 6096646"/>
              <a:gd name="connsiteX7" fmla="*/ 2693267 w 6877849"/>
              <a:gd name="connsiteY7" fmla="*/ 890946 h 6096646"/>
              <a:gd name="connsiteX8" fmla="*/ 2758520 w 6877849"/>
              <a:gd name="connsiteY8" fmla="*/ 44668 h 6096646"/>
              <a:gd name="connsiteX9" fmla="*/ 4737581 w 6877849"/>
              <a:gd name="connsiteY9" fmla="*/ 181833 h 6096646"/>
              <a:gd name="connsiteX10" fmla="*/ 5304848 w 6877849"/>
              <a:gd name="connsiteY10" fmla="*/ 588232 h 6096646"/>
              <a:gd name="connsiteX11" fmla="*/ 5614266 w 6877849"/>
              <a:gd name="connsiteY11" fmla="*/ 890946 h 6096646"/>
              <a:gd name="connsiteX12" fmla="*/ 5685848 w 6877849"/>
              <a:gd name="connsiteY12" fmla="*/ 1307900 h 6096646"/>
              <a:gd name="connsiteX13" fmla="*/ 6811915 w 6877849"/>
              <a:gd name="connsiteY13" fmla="*/ 1646566 h 6096646"/>
              <a:gd name="connsiteX14" fmla="*/ 6816659 w 6877849"/>
              <a:gd name="connsiteY14" fmla="*/ 2555362 h 6096646"/>
              <a:gd name="connsiteX15" fmla="*/ 6826894 w 6877849"/>
              <a:gd name="connsiteY15" fmla="*/ 3424566 h 6096646"/>
              <a:gd name="connsiteX16" fmla="*/ 6472005 w 6877849"/>
              <a:gd name="connsiteY16" fmla="*/ 3896614 h 6096646"/>
              <a:gd name="connsiteX17" fmla="*/ 5914508 w 6877849"/>
              <a:gd name="connsiteY17" fmla="*/ 4172760 h 6096646"/>
              <a:gd name="connsiteX18" fmla="*/ 5505441 w 6877849"/>
              <a:gd name="connsiteY18" fmla="*/ 4361761 h 6096646"/>
              <a:gd name="connsiteX19" fmla="*/ 5212843 w 6877849"/>
              <a:gd name="connsiteY19" fmla="*/ 4661818 h 6096646"/>
              <a:gd name="connsiteX20" fmla="*/ 5021600 w 6877849"/>
              <a:gd name="connsiteY20" fmla="*/ 5281891 h 6096646"/>
              <a:gd name="connsiteX21" fmla="*/ 4449123 w 6877849"/>
              <a:gd name="connsiteY21" fmla="*/ 5614694 h 6096646"/>
              <a:gd name="connsiteX22" fmla="*/ 4007681 w 6877849"/>
              <a:gd name="connsiteY22" fmla="*/ 5582521 h 6096646"/>
              <a:gd name="connsiteX23" fmla="*/ 3548339 w 6877849"/>
              <a:gd name="connsiteY23" fmla="*/ 5319795 h 6096646"/>
              <a:gd name="connsiteX24" fmla="*/ 2939451 w 6877849"/>
              <a:gd name="connsiteY24" fmla="*/ 5612742 h 6096646"/>
              <a:gd name="connsiteX25" fmla="*/ 2485508 w 6877849"/>
              <a:gd name="connsiteY25" fmla="*/ 5831573 h 6096646"/>
              <a:gd name="connsiteX26" fmla="*/ 1774900 w 6877849"/>
              <a:gd name="connsiteY26" fmla="*/ 6040766 h 6096646"/>
              <a:gd name="connsiteX27" fmla="*/ 1014263 w 6877849"/>
              <a:gd name="connsiteY27" fmla="*/ 6078411 h 6096646"/>
              <a:gd name="connsiteX28" fmla="*/ 212534 w 6877849"/>
              <a:gd name="connsiteY28" fmla="*/ 5725416 h 6096646"/>
              <a:gd name="connsiteX29" fmla="*/ 49186 w 6877849"/>
              <a:gd name="connsiteY29" fmla="*/ 4184868 h 6096646"/>
              <a:gd name="connsiteX0" fmla="*/ 49186 w 6962900"/>
              <a:gd name="connsiteY0" fmla="*/ 4184868 h 6096646"/>
              <a:gd name="connsiteX1" fmla="*/ 588915 w 6962900"/>
              <a:gd name="connsiteY1" fmla="*/ 2586365 h 6096646"/>
              <a:gd name="connsiteX2" fmla="*/ 820830 w 6962900"/>
              <a:gd name="connsiteY2" fmla="*/ 2308788 h 6096646"/>
              <a:gd name="connsiteX3" fmla="*/ 1105382 w 6962900"/>
              <a:gd name="connsiteY3" fmla="*/ 2137631 h 6096646"/>
              <a:gd name="connsiteX4" fmla="*/ 2375382 w 6962900"/>
              <a:gd name="connsiteY4" fmla="*/ 1782032 h 6096646"/>
              <a:gd name="connsiteX5" fmla="*/ 2714048 w 6962900"/>
              <a:gd name="connsiteY5" fmla="*/ 1485699 h 6096646"/>
              <a:gd name="connsiteX6" fmla="*/ 2747913 w 6962900"/>
              <a:gd name="connsiteY6" fmla="*/ 1147033 h 6096646"/>
              <a:gd name="connsiteX7" fmla="*/ 2693267 w 6962900"/>
              <a:gd name="connsiteY7" fmla="*/ 890946 h 6096646"/>
              <a:gd name="connsiteX8" fmla="*/ 2758520 w 6962900"/>
              <a:gd name="connsiteY8" fmla="*/ 44668 h 6096646"/>
              <a:gd name="connsiteX9" fmla="*/ 4737581 w 6962900"/>
              <a:gd name="connsiteY9" fmla="*/ 181833 h 6096646"/>
              <a:gd name="connsiteX10" fmla="*/ 5304848 w 6962900"/>
              <a:gd name="connsiteY10" fmla="*/ 588232 h 6096646"/>
              <a:gd name="connsiteX11" fmla="*/ 5614266 w 6962900"/>
              <a:gd name="connsiteY11" fmla="*/ 890946 h 6096646"/>
              <a:gd name="connsiteX12" fmla="*/ 5685848 w 6962900"/>
              <a:gd name="connsiteY12" fmla="*/ 1307900 h 6096646"/>
              <a:gd name="connsiteX13" fmla="*/ 6811915 w 6962900"/>
              <a:gd name="connsiteY13" fmla="*/ 1646566 h 6096646"/>
              <a:gd name="connsiteX14" fmla="*/ 6957336 w 6962900"/>
              <a:gd name="connsiteY14" fmla="*/ 2555362 h 6096646"/>
              <a:gd name="connsiteX15" fmla="*/ 6826894 w 6962900"/>
              <a:gd name="connsiteY15" fmla="*/ 3424566 h 6096646"/>
              <a:gd name="connsiteX16" fmla="*/ 6472005 w 6962900"/>
              <a:gd name="connsiteY16" fmla="*/ 3896614 h 6096646"/>
              <a:gd name="connsiteX17" fmla="*/ 5914508 w 6962900"/>
              <a:gd name="connsiteY17" fmla="*/ 4172760 h 6096646"/>
              <a:gd name="connsiteX18" fmla="*/ 5505441 w 6962900"/>
              <a:gd name="connsiteY18" fmla="*/ 4361761 h 6096646"/>
              <a:gd name="connsiteX19" fmla="*/ 5212843 w 6962900"/>
              <a:gd name="connsiteY19" fmla="*/ 4661818 h 6096646"/>
              <a:gd name="connsiteX20" fmla="*/ 5021600 w 6962900"/>
              <a:gd name="connsiteY20" fmla="*/ 5281891 h 6096646"/>
              <a:gd name="connsiteX21" fmla="*/ 4449123 w 6962900"/>
              <a:gd name="connsiteY21" fmla="*/ 5614694 h 6096646"/>
              <a:gd name="connsiteX22" fmla="*/ 4007681 w 6962900"/>
              <a:gd name="connsiteY22" fmla="*/ 5582521 h 6096646"/>
              <a:gd name="connsiteX23" fmla="*/ 3548339 w 6962900"/>
              <a:gd name="connsiteY23" fmla="*/ 5319795 h 6096646"/>
              <a:gd name="connsiteX24" fmla="*/ 2939451 w 6962900"/>
              <a:gd name="connsiteY24" fmla="*/ 5612742 h 6096646"/>
              <a:gd name="connsiteX25" fmla="*/ 2485508 w 6962900"/>
              <a:gd name="connsiteY25" fmla="*/ 5831573 h 6096646"/>
              <a:gd name="connsiteX26" fmla="*/ 1774900 w 6962900"/>
              <a:gd name="connsiteY26" fmla="*/ 6040766 h 6096646"/>
              <a:gd name="connsiteX27" fmla="*/ 1014263 w 6962900"/>
              <a:gd name="connsiteY27" fmla="*/ 6078411 h 6096646"/>
              <a:gd name="connsiteX28" fmla="*/ 212534 w 6962900"/>
              <a:gd name="connsiteY28" fmla="*/ 5725416 h 6096646"/>
              <a:gd name="connsiteX29" fmla="*/ 49186 w 6962900"/>
              <a:gd name="connsiteY29" fmla="*/ 4184868 h 6096646"/>
              <a:gd name="connsiteX0" fmla="*/ 49186 w 6957336"/>
              <a:gd name="connsiteY0" fmla="*/ 4184868 h 6096646"/>
              <a:gd name="connsiteX1" fmla="*/ 588915 w 6957336"/>
              <a:gd name="connsiteY1" fmla="*/ 2586365 h 6096646"/>
              <a:gd name="connsiteX2" fmla="*/ 820830 w 6957336"/>
              <a:gd name="connsiteY2" fmla="*/ 2308788 h 6096646"/>
              <a:gd name="connsiteX3" fmla="*/ 1105382 w 6957336"/>
              <a:gd name="connsiteY3" fmla="*/ 2137631 h 6096646"/>
              <a:gd name="connsiteX4" fmla="*/ 2375382 w 6957336"/>
              <a:gd name="connsiteY4" fmla="*/ 1782032 h 6096646"/>
              <a:gd name="connsiteX5" fmla="*/ 2714048 w 6957336"/>
              <a:gd name="connsiteY5" fmla="*/ 1485699 h 6096646"/>
              <a:gd name="connsiteX6" fmla="*/ 2747913 w 6957336"/>
              <a:gd name="connsiteY6" fmla="*/ 1147033 h 6096646"/>
              <a:gd name="connsiteX7" fmla="*/ 2693267 w 6957336"/>
              <a:gd name="connsiteY7" fmla="*/ 890946 h 6096646"/>
              <a:gd name="connsiteX8" fmla="*/ 2758520 w 6957336"/>
              <a:gd name="connsiteY8" fmla="*/ 44668 h 6096646"/>
              <a:gd name="connsiteX9" fmla="*/ 4737581 w 6957336"/>
              <a:gd name="connsiteY9" fmla="*/ 181833 h 6096646"/>
              <a:gd name="connsiteX10" fmla="*/ 5304848 w 6957336"/>
              <a:gd name="connsiteY10" fmla="*/ 588232 h 6096646"/>
              <a:gd name="connsiteX11" fmla="*/ 5614266 w 6957336"/>
              <a:gd name="connsiteY11" fmla="*/ 890946 h 6096646"/>
              <a:gd name="connsiteX12" fmla="*/ 5685848 w 6957336"/>
              <a:gd name="connsiteY12" fmla="*/ 1307900 h 6096646"/>
              <a:gd name="connsiteX13" fmla="*/ 6811915 w 6957336"/>
              <a:gd name="connsiteY13" fmla="*/ 1646566 h 6096646"/>
              <a:gd name="connsiteX14" fmla="*/ 6957336 w 6957336"/>
              <a:gd name="connsiteY14" fmla="*/ 2555362 h 6096646"/>
              <a:gd name="connsiteX15" fmla="*/ 6826894 w 6957336"/>
              <a:gd name="connsiteY15" fmla="*/ 3424566 h 6096646"/>
              <a:gd name="connsiteX16" fmla="*/ 6472005 w 6957336"/>
              <a:gd name="connsiteY16" fmla="*/ 3896614 h 6096646"/>
              <a:gd name="connsiteX17" fmla="*/ 5914508 w 6957336"/>
              <a:gd name="connsiteY17" fmla="*/ 4172760 h 6096646"/>
              <a:gd name="connsiteX18" fmla="*/ 5505441 w 6957336"/>
              <a:gd name="connsiteY18" fmla="*/ 4361761 h 6096646"/>
              <a:gd name="connsiteX19" fmla="*/ 5212843 w 6957336"/>
              <a:gd name="connsiteY19" fmla="*/ 4661818 h 6096646"/>
              <a:gd name="connsiteX20" fmla="*/ 5021600 w 6957336"/>
              <a:gd name="connsiteY20" fmla="*/ 5281891 h 6096646"/>
              <a:gd name="connsiteX21" fmla="*/ 4449123 w 6957336"/>
              <a:gd name="connsiteY21" fmla="*/ 5614694 h 6096646"/>
              <a:gd name="connsiteX22" fmla="*/ 4007681 w 6957336"/>
              <a:gd name="connsiteY22" fmla="*/ 5582521 h 6096646"/>
              <a:gd name="connsiteX23" fmla="*/ 3548339 w 6957336"/>
              <a:gd name="connsiteY23" fmla="*/ 5319795 h 6096646"/>
              <a:gd name="connsiteX24" fmla="*/ 2939451 w 6957336"/>
              <a:gd name="connsiteY24" fmla="*/ 5612742 h 6096646"/>
              <a:gd name="connsiteX25" fmla="*/ 2485508 w 6957336"/>
              <a:gd name="connsiteY25" fmla="*/ 5831573 h 6096646"/>
              <a:gd name="connsiteX26" fmla="*/ 1774900 w 6957336"/>
              <a:gd name="connsiteY26" fmla="*/ 6040766 h 6096646"/>
              <a:gd name="connsiteX27" fmla="*/ 1014263 w 6957336"/>
              <a:gd name="connsiteY27" fmla="*/ 6078411 h 6096646"/>
              <a:gd name="connsiteX28" fmla="*/ 212534 w 6957336"/>
              <a:gd name="connsiteY28" fmla="*/ 5725416 h 6096646"/>
              <a:gd name="connsiteX29" fmla="*/ 49186 w 6957336"/>
              <a:gd name="connsiteY29" fmla="*/ 4184868 h 6096646"/>
              <a:gd name="connsiteX0" fmla="*/ 49186 w 6957336"/>
              <a:gd name="connsiteY0" fmla="*/ 4184868 h 6096646"/>
              <a:gd name="connsiteX1" fmla="*/ 588915 w 6957336"/>
              <a:gd name="connsiteY1" fmla="*/ 2586365 h 6096646"/>
              <a:gd name="connsiteX2" fmla="*/ 820830 w 6957336"/>
              <a:gd name="connsiteY2" fmla="*/ 2308788 h 6096646"/>
              <a:gd name="connsiteX3" fmla="*/ 1105382 w 6957336"/>
              <a:gd name="connsiteY3" fmla="*/ 2137631 h 6096646"/>
              <a:gd name="connsiteX4" fmla="*/ 2375382 w 6957336"/>
              <a:gd name="connsiteY4" fmla="*/ 1782032 h 6096646"/>
              <a:gd name="connsiteX5" fmla="*/ 2714048 w 6957336"/>
              <a:gd name="connsiteY5" fmla="*/ 1485699 h 6096646"/>
              <a:gd name="connsiteX6" fmla="*/ 2747913 w 6957336"/>
              <a:gd name="connsiteY6" fmla="*/ 1147033 h 6096646"/>
              <a:gd name="connsiteX7" fmla="*/ 2693267 w 6957336"/>
              <a:gd name="connsiteY7" fmla="*/ 890946 h 6096646"/>
              <a:gd name="connsiteX8" fmla="*/ 2758520 w 6957336"/>
              <a:gd name="connsiteY8" fmla="*/ 44668 h 6096646"/>
              <a:gd name="connsiteX9" fmla="*/ 4737581 w 6957336"/>
              <a:gd name="connsiteY9" fmla="*/ 181833 h 6096646"/>
              <a:gd name="connsiteX10" fmla="*/ 5304848 w 6957336"/>
              <a:gd name="connsiteY10" fmla="*/ 588232 h 6096646"/>
              <a:gd name="connsiteX11" fmla="*/ 5614266 w 6957336"/>
              <a:gd name="connsiteY11" fmla="*/ 890946 h 6096646"/>
              <a:gd name="connsiteX12" fmla="*/ 5685848 w 6957336"/>
              <a:gd name="connsiteY12" fmla="*/ 1307900 h 6096646"/>
              <a:gd name="connsiteX13" fmla="*/ 6536422 w 6957336"/>
              <a:gd name="connsiteY13" fmla="*/ 1957228 h 6096646"/>
              <a:gd name="connsiteX14" fmla="*/ 6957336 w 6957336"/>
              <a:gd name="connsiteY14" fmla="*/ 2555362 h 6096646"/>
              <a:gd name="connsiteX15" fmla="*/ 6826894 w 6957336"/>
              <a:gd name="connsiteY15" fmla="*/ 3424566 h 6096646"/>
              <a:gd name="connsiteX16" fmla="*/ 6472005 w 6957336"/>
              <a:gd name="connsiteY16" fmla="*/ 3896614 h 6096646"/>
              <a:gd name="connsiteX17" fmla="*/ 5914508 w 6957336"/>
              <a:gd name="connsiteY17" fmla="*/ 4172760 h 6096646"/>
              <a:gd name="connsiteX18" fmla="*/ 5505441 w 6957336"/>
              <a:gd name="connsiteY18" fmla="*/ 4361761 h 6096646"/>
              <a:gd name="connsiteX19" fmla="*/ 5212843 w 6957336"/>
              <a:gd name="connsiteY19" fmla="*/ 4661818 h 6096646"/>
              <a:gd name="connsiteX20" fmla="*/ 5021600 w 6957336"/>
              <a:gd name="connsiteY20" fmla="*/ 5281891 h 6096646"/>
              <a:gd name="connsiteX21" fmla="*/ 4449123 w 6957336"/>
              <a:gd name="connsiteY21" fmla="*/ 5614694 h 6096646"/>
              <a:gd name="connsiteX22" fmla="*/ 4007681 w 6957336"/>
              <a:gd name="connsiteY22" fmla="*/ 5582521 h 6096646"/>
              <a:gd name="connsiteX23" fmla="*/ 3548339 w 6957336"/>
              <a:gd name="connsiteY23" fmla="*/ 5319795 h 6096646"/>
              <a:gd name="connsiteX24" fmla="*/ 2939451 w 6957336"/>
              <a:gd name="connsiteY24" fmla="*/ 5612742 h 6096646"/>
              <a:gd name="connsiteX25" fmla="*/ 2485508 w 6957336"/>
              <a:gd name="connsiteY25" fmla="*/ 5831573 h 6096646"/>
              <a:gd name="connsiteX26" fmla="*/ 1774900 w 6957336"/>
              <a:gd name="connsiteY26" fmla="*/ 6040766 h 6096646"/>
              <a:gd name="connsiteX27" fmla="*/ 1014263 w 6957336"/>
              <a:gd name="connsiteY27" fmla="*/ 6078411 h 6096646"/>
              <a:gd name="connsiteX28" fmla="*/ 212534 w 6957336"/>
              <a:gd name="connsiteY28" fmla="*/ 5725416 h 6096646"/>
              <a:gd name="connsiteX29" fmla="*/ 49186 w 6957336"/>
              <a:gd name="connsiteY29" fmla="*/ 4184868 h 6096646"/>
              <a:gd name="connsiteX0" fmla="*/ 49186 w 6957336"/>
              <a:gd name="connsiteY0" fmla="*/ 4184868 h 6096646"/>
              <a:gd name="connsiteX1" fmla="*/ 588915 w 6957336"/>
              <a:gd name="connsiteY1" fmla="*/ 2586365 h 6096646"/>
              <a:gd name="connsiteX2" fmla="*/ 820830 w 6957336"/>
              <a:gd name="connsiteY2" fmla="*/ 2308788 h 6096646"/>
              <a:gd name="connsiteX3" fmla="*/ 1105382 w 6957336"/>
              <a:gd name="connsiteY3" fmla="*/ 2137631 h 6096646"/>
              <a:gd name="connsiteX4" fmla="*/ 2375382 w 6957336"/>
              <a:gd name="connsiteY4" fmla="*/ 1782032 h 6096646"/>
              <a:gd name="connsiteX5" fmla="*/ 2714048 w 6957336"/>
              <a:gd name="connsiteY5" fmla="*/ 1485699 h 6096646"/>
              <a:gd name="connsiteX6" fmla="*/ 2747913 w 6957336"/>
              <a:gd name="connsiteY6" fmla="*/ 1147033 h 6096646"/>
              <a:gd name="connsiteX7" fmla="*/ 2693267 w 6957336"/>
              <a:gd name="connsiteY7" fmla="*/ 890946 h 6096646"/>
              <a:gd name="connsiteX8" fmla="*/ 2758520 w 6957336"/>
              <a:gd name="connsiteY8" fmla="*/ 44668 h 6096646"/>
              <a:gd name="connsiteX9" fmla="*/ 4737581 w 6957336"/>
              <a:gd name="connsiteY9" fmla="*/ 181833 h 6096646"/>
              <a:gd name="connsiteX10" fmla="*/ 5304848 w 6957336"/>
              <a:gd name="connsiteY10" fmla="*/ 588232 h 6096646"/>
              <a:gd name="connsiteX11" fmla="*/ 5614266 w 6957336"/>
              <a:gd name="connsiteY11" fmla="*/ 890946 h 6096646"/>
              <a:gd name="connsiteX12" fmla="*/ 5685848 w 6957336"/>
              <a:gd name="connsiteY12" fmla="*/ 1307900 h 6096646"/>
              <a:gd name="connsiteX13" fmla="*/ 6841222 w 6957336"/>
              <a:gd name="connsiteY13" fmla="*/ 1716905 h 6096646"/>
              <a:gd name="connsiteX14" fmla="*/ 6957336 w 6957336"/>
              <a:gd name="connsiteY14" fmla="*/ 2555362 h 6096646"/>
              <a:gd name="connsiteX15" fmla="*/ 6826894 w 6957336"/>
              <a:gd name="connsiteY15" fmla="*/ 3424566 h 6096646"/>
              <a:gd name="connsiteX16" fmla="*/ 6472005 w 6957336"/>
              <a:gd name="connsiteY16" fmla="*/ 3896614 h 6096646"/>
              <a:gd name="connsiteX17" fmla="*/ 5914508 w 6957336"/>
              <a:gd name="connsiteY17" fmla="*/ 4172760 h 6096646"/>
              <a:gd name="connsiteX18" fmla="*/ 5505441 w 6957336"/>
              <a:gd name="connsiteY18" fmla="*/ 4361761 h 6096646"/>
              <a:gd name="connsiteX19" fmla="*/ 5212843 w 6957336"/>
              <a:gd name="connsiteY19" fmla="*/ 4661818 h 6096646"/>
              <a:gd name="connsiteX20" fmla="*/ 5021600 w 6957336"/>
              <a:gd name="connsiteY20" fmla="*/ 5281891 h 6096646"/>
              <a:gd name="connsiteX21" fmla="*/ 4449123 w 6957336"/>
              <a:gd name="connsiteY21" fmla="*/ 5614694 h 6096646"/>
              <a:gd name="connsiteX22" fmla="*/ 4007681 w 6957336"/>
              <a:gd name="connsiteY22" fmla="*/ 5582521 h 6096646"/>
              <a:gd name="connsiteX23" fmla="*/ 3548339 w 6957336"/>
              <a:gd name="connsiteY23" fmla="*/ 5319795 h 6096646"/>
              <a:gd name="connsiteX24" fmla="*/ 2939451 w 6957336"/>
              <a:gd name="connsiteY24" fmla="*/ 5612742 h 6096646"/>
              <a:gd name="connsiteX25" fmla="*/ 2485508 w 6957336"/>
              <a:gd name="connsiteY25" fmla="*/ 5831573 h 6096646"/>
              <a:gd name="connsiteX26" fmla="*/ 1774900 w 6957336"/>
              <a:gd name="connsiteY26" fmla="*/ 6040766 h 6096646"/>
              <a:gd name="connsiteX27" fmla="*/ 1014263 w 6957336"/>
              <a:gd name="connsiteY27" fmla="*/ 6078411 h 6096646"/>
              <a:gd name="connsiteX28" fmla="*/ 212534 w 6957336"/>
              <a:gd name="connsiteY28" fmla="*/ 5725416 h 6096646"/>
              <a:gd name="connsiteX29" fmla="*/ 49186 w 6957336"/>
              <a:gd name="connsiteY29" fmla="*/ 4184868 h 6096646"/>
              <a:gd name="connsiteX0" fmla="*/ 49186 w 6957336"/>
              <a:gd name="connsiteY0" fmla="*/ 4184868 h 6096646"/>
              <a:gd name="connsiteX1" fmla="*/ 588915 w 6957336"/>
              <a:gd name="connsiteY1" fmla="*/ 2586365 h 6096646"/>
              <a:gd name="connsiteX2" fmla="*/ 820830 w 6957336"/>
              <a:gd name="connsiteY2" fmla="*/ 2308788 h 6096646"/>
              <a:gd name="connsiteX3" fmla="*/ 1105382 w 6957336"/>
              <a:gd name="connsiteY3" fmla="*/ 2137631 h 6096646"/>
              <a:gd name="connsiteX4" fmla="*/ 2375382 w 6957336"/>
              <a:gd name="connsiteY4" fmla="*/ 1782032 h 6096646"/>
              <a:gd name="connsiteX5" fmla="*/ 2714048 w 6957336"/>
              <a:gd name="connsiteY5" fmla="*/ 1485699 h 6096646"/>
              <a:gd name="connsiteX6" fmla="*/ 2747913 w 6957336"/>
              <a:gd name="connsiteY6" fmla="*/ 1147033 h 6096646"/>
              <a:gd name="connsiteX7" fmla="*/ 2693267 w 6957336"/>
              <a:gd name="connsiteY7" fmla="*/ 890946 h 6096646"/>
              <a:gd name="connsiteX8" fmla="*/ 2758520 w 6957336"/>
              <a:gd name="connsiteY8" fmla="*/ 44668 h 6096646"/>
              <a:gd name="connsiteX9" fmla="*/ 4737581 w 6957336"/>
              <a:gd name="connsiteY9" fmla="*/ 181833 h 6096646"/>
              <a:gd name="connsiteX10" fmla="*/ 5304848 w 6957336"/>
              <a:gd name="connsiteY10" fmla="*/ 588232 h 6096646"/>
              <a:gd name="connsiteX11" fmla="*/ 5614266 w 6957336"/>
              <a:gd name="connsiteY11" fmla="*/ 890946 h 6096646"/>
              <a:gd name="connsiteX12" fmla="*/ 5685848 w 6957336"/>
              <a:gd name="connsiteY12" fmla="*/ 1307900 h 6096646"/>
              <a:gd name="connsiteX13" fmla="*/ 6437905 w 6957336"/>
              <a:gd name="connsiteY13" fmla="*/ 1566925 h 6096646"/>
              <a:gd name="connsiteX14" fmla="*/ 6841222 w 6957336"/>
              <a:gd name="connsiteY14" fmla="*/ 1716905 h 6096646"/>
              <a:gd name="connsiteX15" fmla="*/ 6957336 w 6957336"/>
              <a:gd name="connsiteY15" fmla="*/ 2555362 h 6096646"/>
              <a:gd name="connsiteX16" fmla="*/ 6826894 w 6957336"/>
              <a:gd name="connsiteY16" fmla="*/ 3424566 h 6096646"/>
              <a:gd name="connsiteX17" fmla="*/ 6472005 w 6957336"/>
              <a:gd name="connsiteY17" fmla="*/ 3896614 h 6096646"/>
              <a:gd name="connsiteX18" fmla="*/ 5914508 w 6957336"/>
              <a:gd name="connsiteY18" fmla="*/ 4172760 h 6096646"/>
              <a:gd name="connsiteX19" fmla="*/ 5505441 w 6957336"/>
              <a:gd name="connsiteY19" fmla="*/ 4361761 h 6096646"/>
              <a:gd name="connsiteX20" fmla="*/ 5212843 w 6957336"/>
              <a:gd name="connsiteY20" fmla="*/ 4661818 h 6096646"/>
              <a:gd name="connsiteX21" fmla="*/ 5021600 w 6957336"/>
              <a:gd name="connsiteY21" fmla="*/ 5281891 h 6096646"/>
              <a:gd name="connsiteX22" fmla="*/ 4449123 w 6957336"/>
              <a:gd name="connsiteY22" fmla="*/ 5614694 h 6096646"/>
              <a:gd name="connsiteX23" fmla="*/ 4007681 w 6957336"/>
              <a:gd name="connsiteY23" fmla="*/ 5582521 h 6096646"/>
              <a:gd name="connsiteX24" fmla="*/ 3548339 w 6957336"/>
              <a:gd name="connsiteY24" fmla="*/ 5319795 h 6096646"/>
              <a:gd name="connsiteX25" fmla="*/ 2939451 w 6957336"/>
              <a:gd name="connsiteY25" fmla="*/ 5612742 h 6096646"/>
              <a:gd name="connsiteX26" fmla="*/ 2485508 w 6957336"/>
              <a:gd name="connsiteY26" fmla="*/ 5831573 h 6096646"/>
              <a:gd name="connsiteX27" fmla="*/ 1774900 w 6957336"/>
              <a:gd name="connsiteY27" fmla="*/ 6040766 h 6096646"/>
              <a:gd name="connsiteX28" fmla="*/ 1014263 w 6957336"/>
              <a:gd name="connsiteY28" fmla="*/ 6078411 h 6096646"/>
              <a:gd name="connsiteX29" fmla="*/ 212534 w 6957336"/>
              <a:gd name="connsiteY29" fmla="*/ 5725416 h 6096646"/>
              <a:gd name="connsiteX30" fmla="*/ 49186 w 6957336"/>
              <a:gd name="connsiteY30" fmla="*/ 4184868 h 6096646"/>
              <a:gd name="connsiteX0" fmla="*/ 49186 w 6957336"/>
              <a:gd name="connsiteY0" fmla="*/ 4184868 h 6096646"/>
              <a:gd name="connsiteX1" fmla="*/ 588915 w 6957336"/>
              <a:gd name="connsiteY1" fmla="*/ 2586365 h 6096646"/>
              <a:gd name="connsiteX2" fmla="*/ 820830 w 6957336"/>
              <a:gd name="connsiteY2" fmla="*/ 2308788 h 6096646"/>
              <a:gd name="connsiteX3" fmla="*/ 1105382 w 6957336"/>
              <a:gd name="connsiteY3" fmla="*/ 2137631 h 6096646"/>
              <a:gd name="connsiteX4" fmla="*/ 2375382 w 6957336"/>
              <a:gd name="connsiteY4" fmla="*/ 1782032 h 6096646"/>
              <a:gd name="connsiteX5" fmla="*/ 2714048 w 6957336"/>
              <a:gd name="connsiteY5" fmla="*/ 1485699 h 6096646"/>
              <a:gd name="connsiteX6" fmla="*/ 2747913 w 6957336"/>
              <a:gd name="connsiteY6" fmla="*/ 1147033 h 6096646"/>
              <a:gd name="connsiteX7" fmla="*/ 2693267 w 6957336"/>
              <a:gd name="connsiteY7" fmla="*/ 890946 h 6096646"/>
              <a:gd name="connsiteX8" fmla="*/ 2758520 w 6957336"/>
              <a:gd name="connsiteY8" fmla="*/ 44668 h 6096646"/>
              <a:gd name="connsiteX9" fmla="*/ 4737581 w 6957336"/>
              <a:gd name="connsiteY9" fmla="*/ 181833 h 6096646"/>
              <a:gd name="connsiteX10" fmla="*/ 5304848 w 6957336"/>
              <a:gd name="connsiteY10" fmla="*/ 588232 h 6096646"/>
              <a:gd name="connsiteX11" fmla="*/ 5614266 w 6957336"/>
              <a:gd name="connsiteY11" fmla="*/ 890946 h 6096646"/>
              <a:gd name="connsiteX12" fmla="*/ 5685848 w 6957336"/>
              <a:gd name="connsiteY12" fmla="*/ 1307900 h 6096646"/>
              <a:gd name="connsiteX13" fmla="*/ 6519966 w 6957336"/>
              <a:gd name="connsiteY13" fmla="*/ 1525894 h 6096646"/>
              <a:gd name="connsiteX14" fmla="*/ 6841222 w 6957336"/>
              <a:gd name="connsiteY14" fmla="*/ 1716905 h 6096646"/>
              <a:gd name="connsiteX15" fmla="*/ 6957336 w 6957336"/>
              <a:gd name="connsiteY15" fmla="*/ 2555362 h 6096646"/>
              <a:gd name="connsiteX16" fmla="*/ 6826894 w 6957336"/>
              <a:gd name="connsiteY16" fmla="*/ 3424566 h 6096646"/>
              <a:gd name="connsiteX17" fmla="*/ 6472005 w 6957336"/>
              <a:gd name="connsiteY17" fmla="*/ 3896614 h 6096646"/>
              <a:gd name="connsiteX18" fmla="*/ 5914508 w 6957336"/>
              <a:gd name="connsiteY18" fmla="*/ 4172760 h 6096646"/>
              <a:gd name="connsiteX19" fmla="*/ 5505441 w 6957336"/>
              <a:gd name="connsiteY19" fmla="*/ 4361761 h 6096646"/>
              <a:gd name="connsiteX20" fmla="*/ 5212843 w 6957336"/>
              <a:gd name="connsiteY20" fmla="*/ 4661818 h 6096646"/>
              <a:gd name="connsiteX21" fmla="*/ 5021600 w 6957336"/>
              <a:gd name="connsiteY21" fmla="*/ 5281891 h 6096646"/>
              <a:gd name="connsiteX22" fmla="*/ 4449123 w 6957336"/>
              <a:gd name="connsiteY22" fmla="*/ 5614694 h 6096646"/>
              <a:gd name="connsiteX23" fmla="*/ 4007681 w 6957336"/>
              <a:gd name="connsiteY23" fmla="*/ 5582521 h 6096646"/>
              <a:gd name="connsiteX24" fmla="*/ 3548339 w 6957336"/>
              <a:gd name="connsiteY24" fmla="*/ 5319795 h 6096646"/>
              <a:gd name="connsiteX25" fmla="*/ 2939451 w 6957336"/>
              <a:gd name="connsiteY25" fmla="*/ 5612742 h 6096646"/>
              <a:gd name="connsiteX26" fmla="*/ 2485508 w 6957336"/>
              <a:gd name="connsiteY26" fmla="*/ 5831573 h 6096646"/>
              <a:gd name="connsiteX27" fmla="*/ 1774900 w 6957336"/>
              <a:gd name="connsiteY27" fmla="*/ 6040766 h 6096646"/>
              <a:gd name="connsiteX28" fmla="*/ 1014263 w 6957336"/>
              <a:gd name="connsiteY28" fmla="*/ 6078411 h 6096646"/>
              <a:gd name="connsiteX29" fmla="*/ 212534 w 6957336"/>
              <a:gd name="connsiteY29" fmla="*/ 5725416 h 6096646"/>
              <a:gd name="connsiteX30" fmla="*/ 49186 w 6957336"/>
              <a:gd name="connsiteY30" fmla="*/ 4184868 h 6096646"/>
              <a:gd name="connsiteX0" fmla="*/ 49186 w 6957336"/>
              <a:gd name="connsiteY0" fmla="*/ 4184868 h 6096646"/>
              <a:gd name="connsiteX1" fmla="*/ 588915 w 6957336"/>
              <a:gd name="connsiteY1" fmla="*/ 2586365 h 6096646"/>
              <a:gd name="connsiteX2" fmla="*/ 820830 w 6957336"/>
              <a:gd name="connsiteY2" fmla="*/ 2308788 h 6096646"/>
              <a:gd name="connsiteX3" fmla="*/ 1105382 w 6957336"/>
              <a:gd name="connsiteY3" fmla="*/ 2137631 h 6096646"/>
              <a:gd name="connsiteX4" fmla="*/ 2375382 w 6957336"/>
              <a:gd name="connsiteY4" fmla="*/ 1782032 h 6096646"/>
              <a:gd name="connsiteX5" fmla="*/ 2714048 w 6957336"/>
              <a:gd name="connsiteY5" fmla="*/ 1485699 h 6096646"/>
              <a:gd name="connsiteX6" fmla="*/ 2747913 w 6957336"/>
              <a:gd name="connsiteY6" fmla="*/ 1147033 h 6096646"/>
              <a:gd name="connsiteX7" fmla="*/ 2693267 w 6957336"/>
              <a:gd name="connsiteY7" fmla="*/ 890946 h 6096646"/>
              <a:gd name="connsiteX8" fmla="*/ 2758520 w 6957336"/>
              <a:gd name="connsiteY8" fmla="*/ 44668 h 6096646"/>
              <a:gd name="connsiteX9" fmla="*/ 4737581 w 6957336"/>
              <a:gd name="connsiteY9" fmla="*/ 181833 h 6096646"/>
              <a:gd name="connsiteX10" fmla="*/ 5304848 w 6957336"/>
              <a:gd name="connsiteY10" fmla="*/ 588232 h 6096646"/>
              <a:gd name="connsiteX11" fmla="*/ 5614266 w 6957336"/>
              <a:gd name="connsiteY11" fmla="*/ 890946 h 6096646"/>
              <a:gd name="connsiteX12" fmla="*/ 5685848 w 6957336"/>
              <a:gd name="connsiteY12" fmla="*/ 1307900 h 6096646"/>
              <a:gd name="connsiteX13" fmla="*/ 6519966 w 6957336"/>
              <a:gd name="connsiteY13" fmla="*/ 1525894 h 6096646"/>
              <a:gd name="connsiteX14" fmla="*/ 6841222 w 6957336"/>
              <a:gd name="connsiteY14" fmla="*/ 1716905 h 6096646"/>
              <a:gd name="connsiteX15" fmla="*/ 6957336 w 6957336"/>
              <a:gd name="connsiteY15" fmla="*/ 2555362 h 6096646"/>
              <a:gd name="connsiteX16" fmla="*/ 6826894 w 6957336"/>
              <a:gd name="connsiteY16" fmla="*/ 3424566 h 6096646"/>
              <a:gd name="connsiteX17" fmla="*/ 6472005 w 6957336"/>
              <a:gd name="connsiteY17" fmla="*/ 3896614 h 6096646"/>
              <a:gd name="connsiteX18" fmla="*/ 5914508 w 6957336"/>
              <a:gd name="connsiteY18" fmla="*/ 4172760 h 6096646"/>
              <a:gd name="connsiteX19" fmla="*/ 5505441 w 6957336"/>
              <a:gd name="connsiteY19" fmla="*/ 4361761 h 6096646"/>
              <a:gd name="connsiteX20" fmla="*/ 5212843 w 6957336"/>
              <a:gd name="connsiteY20" fmla="*/ 4661818 h 6096646"/>
              <a:gd name="connsiteX21" fmla="*/ 5021600 w 6957336"/>
              <a:gd name="connsiteY21" fmla="*/ 5281891 h 6096646"/>
              <a:gd name="connsiteX22" fmla="*/ 4449123 w 6957336"/>
              <a:gd name="connsiteY22" fmla="*/ 5614694 h 6096646"/>
              <a:gd name="connsiteX23" fmla="*/ 4007681 w 6957336"/>
              <a:gd name="connsiteY23" fmla="*/ 5582521 h 6096646"/>
              <a:gd name="connsiteX24" fmla="*/ 3548339 w 6957336"/>
              <a:gd name="connsiteY24" fmla="*/ 5319795 h 6096646"/>
              <a:gd name="connsiteX25" fmla="*/ 2939451 w 6957336"/>
              <a:gd name="connsiteY25" fmla="*/ 5612742 h 6096646"/>
              <a:gd name="connsiteX26" fmla="*/ 2485508 w 6957336"/>
              <a:gd name="connsiteY26" fmla="*/ 5831573 h 6096646"/>
              <a:gd name="connsiteX27" fmla="*/ 1774900 w 6957336"/>
              <a:gd name="connsiteY27" fmla="*/ 6040766 h 6096646"/>
              <a:gd name="connsiteX28" fmla="*/ 1014263 w 6957336"/>
              <a:gd name="connsiteY28" fmla="*/ 6078411 h 6096646"/>
              <a:gd name="connsiteX29" fmla="*/ 212534 w 6957336"/>
              <a:gd name="connsiteY29" fmla="*/ 5725416 h 6096646"/>
              <a:gd name="connsiteX30" fmla="*/ 49186 w 6957336"/>
              <a:gd name="connsiteY30" fmla="*/ 4184868 h 6096646"/>
              <a:gd name="connsiteX0" fmla="*/ 49186 w 6957336"/>
              <a:gd name="connsiteY0" fmla="*/ 4184868 h 6096646"/>
              <a:gd name="connsiteX1" fmla="*/ 588915 w 6957336"/>
              <a:gd name="connsiteY1" fmla="*/ 2586365 h 6096646"/>
              <a:gd name="connsiteX2" fmla="*/ 820830 w 6957336"/>
              <a:gd name="connsiteY2" fmla="*/ 2308788 h 6096646"/>
              <a:gd name="connsiteX3" fmla="*/ 1105382 w 6957336"/>
              <a:gd name="connsiteY3" fmla="*/ 2137631 h 6096646"/>
              <a:gd name="connsiteX4" fmla="*/ 2375382 w 6957336"/>
              <a:gd name="connsiteY4" fmla="*/ 1782032 h 6096646"/>
              <a:gd name="connsiteX5" fmla="*/ 2714048 w 6957336"/>
              <a:gd name="connsiteY5" fmla="*/ 1485699 h 6096646"/>
              <a:gd name="connsiteX6" fmla="*/ 2747913 w 6957336"/>
              <a:gd name="connsiteY6" fmla="*/ 1147033 h 6096646"/>
              <a:gd name="connsiteX7" fmla="*/ 2693267 w 6957336"/>
              <a:gd name="connsiteY7" fmla="*/ 890946 h 6096646"/>
              <a:gd name="connsiteX8" fmla="*/ 2758520 w 6957336"/>
              <a:gd name="connsiteY8" fmla="*/ 44668 h 6096646"/>
              <a:gd name="connsiteX9" fmla="*/ 4737581 w 6957336"/>
              <a:gd name="connsiteY9" fmla="*/ 181833 h 6096646"/>
              <a:gd name="connsiteX10" fmla="*/ 5304848 w 6957336"/>
              <a:gd name="connsiteY10" fmla="*/ 588232 h 6096646"/>
              <a:gd name="connsiteX11" fmla="*/ 5614266 w 6957336"/>
              <a:gd name="connsiteY11" fmla="*/ 890946 h 6096646"/>
              <a:gd name="connsiteX12" fmla="*/ 5709294 w 6957336"/>
              <a:gd name="connsiteY12" fmla="*/ 1472023 h 6096646"/>
              <a:gd name="connsiteX13" fmla="*/ 6519966 w 6957336"/>
              <a:gd name="connsiteY13" fmla="*/ 1525894 h 6096646"/>
              <a:gd name="connsiteX14" fmla="*/ 6841222 w 6957336"/>
              <a:gd name="connsiteY14" fmla="*/ 1716905 h 6096646"/>
              <a:gd name="connsiteX15" fmla="*/ 6957336 w 6957336"/>
              <a:gd name="connsiteY15" fmla="*/ 2555362 h 6096646"/>
              <a:gd name="connsiteX16" fmla="*/ 6826894 w 6957336"/>
              <a:gd name="connsiteY16" fmla="*/ 3424566 h 6096646"/>
              <a:gd name="connsiteX17" fmla="*/ 6472005 w 6957336"/>
              <a:gd name="connsiteY17" fmla="*/ 3896614 h 6096646"/>
              <a:gd name="connsiteX18" fmla="*/ 5914508 w 6957336"/>
              <a:gd name="connsiteY18" fmla="*/ 4172760 h 6096646"/>
              <a:gd name="connsiteX19" fmla="*/ 5505441 w 6957336"/>
              <a:gd name="connsiteY19" fmla="*/ 4361761 h 6096646"/>
              <a:gd name="connsiteX20" fmla="*/ 5212843 w 6957336"/>
              <a:gd name="connsiteY20" fmla="*/ 4661818 h 6096646"/>
              <a:gd name="connsiteX21" fmla="*/ 5021600 w 6957336"/>
              <a:gd name="connsiteY21" fmla="*/ 5281891 h 6096646"/>
              <a:gd name="connsiteX22" fmla="*/ 4449123 w 6957336"/>
              <a:gd name="connsiteY22" fmla="*/ 5614694 h 6096646"/>
              <a:gd name="connsiteX23" fmla="*/ 4007681 w 6957336"/>
              <a:gd name="connsiteY23" fmla="*/ 5582521 h 6096646"/>
              <a:gd name="connsiteX24" fmla="*/ 3548339 w 6957336"/>
              <a:gd name="connsiteY24" fmla="*/ 5319795 h 6096646"/>
              <a:gd name="connsiteX25" fmla="*/ 2939451 w 6957336"/>
              <a:gd name="connsiteY25" fmla="*/ 5612742 h 6096646"/>
              <a:gd name="connsiteX26" fmla="*/ 2485508 w 6957336"/>
              <a:gd name="connsiteY26" fmla="*/ 5831573 h 6096646"/>
              <a:gd name="connsiteX27" fmla="*/ 1774900 w 6957336"/>
              <a:gd name="connsiteY27" fmla="*/ 6040766 h 6096646"/>
              <a:gd name="connsiteX28" fmla="*/ 1014263 w 6957336"/>
              <a:gd name="connsiteY28" fmla="*/ 6078411 h 6096646"/>
              <a:gd name="connsiteX29" fmla="*/ 212534 w 6957336"/>
              <a:gd name="connsiteY29" fmla="*/ 5725416 h 6096646"/>
              <a:gd name="connsiteX30" fmla="*/ 49186 w 6957336"/>
              <a:gd name="connsiteY30" fmla="*/ 4184868 h 6096646"/>
              <a:gd name="connsiteX0" fmla="*/ 49186 w 6957336"/>
              <a:gd name="connsiteY0" fmla="*/ 4184868 h 6096646"/>
              <a:gd name="connsiteX1" fmla="*/ 588915 w 6957336"/>
              <a:gd name="connsiteY1" fmla="*/ 2586365 h 6096646"/>
              <a:gd name="connsiteX2" fmla="*/ 820830 w 6957336"/>
              <a:gd name="connsiteY2" fmla="*/ 2308788 h 6096646"/>
              <a:gd name="connsiteX3" fmla="*/ 1105382 w 6957336"/>
              <a:gd name="connsiteY3" fmla="*/ 2137631 h 6096646"/>
              <a:gd name="connsiteX4" fmla="*/ 2375382 w 6957336"/>
              <a:gd name="connsiteY4" fmla="*/ 1782032 h 6096646"/>
              <a:gd name="connsiteX5" fmla="*/ 2714048 w 6957336"/>
              <a:gd name="connsiteY5" fmla="*/ 1485699 h 6096646"/>
              <a:gd name="connsiteX6" fmla="*/ 2747913 w 6957336"/>
              <a:gd name="connsiteY6" fmla="*/ 1147033 h 6096646"/>
              <a:gd name="connsiteX7" fmla="*/ 2693267 w 6957336"/>
              <a:gd name="connsiteY7" fmla="*/ 890946 h 6096646"/>
              <a:gd name="connsiteX8" fmla="*/ 2758520 w 6957336"/>
              <a:gd name="connsiteY8" fmla="*/ 44668 h 6096646"/>
              <a:gd name="connsiteX9" fmla="*/ 4737581 w 6957336"/>
              <a:gd name="connsiteY9" fmla="*/ 181833 h 6096646"/>
              <a:gd name="connsiteX10" fmla="*/ 5304848 w 6957336"/>
              <a:gd name="connsiteY10" fmla="*/ 588232 h 6096646"/>
              <a:gd name="connsiteX11" fmla="*/ 5614266 w 6957336"/>
              <a:gd name="connsiteY11" fmla="*/ 890946 h 6096646"/>
              <a:gd name="connsiteX12" fmla="*/ 5767909 w 6957336"/>
              <a:gd name="connsiteY12" fmla="*/ 1460300 h 6096646"/>
              <a:gd name="connsiteX13" fmla="*/ 6519966 w 6957336"/>
              <a:gd name="connsiteY13" fmla="*/ 1525894 h 6096646"/>
              <a:gd name="connsiteX14" fmla="*/ 6841222 w 6957336"/>
              <a:gd name="connsiteY14" fmla="*/ 1716905 h 6096646"/>
              <a:gd name="connsiteX15" fmla="*/ 6957336 w 6957336"/>
              <a:gd name="connsiteY15" fmla="*/ 2555362 h 6096646"/>
              <a:gd name="connsiteX16" fmla="*/ 6826894 w 6957336"/>
              <a:gd name="connsiteY16" fmla="*/ 3424566 h 6096646"/>
              <a:gd name="connsiteX17" fmla="*/ 6472005 w 6957336"/>
              <a:gd name="connsiteY17" fmla="*/ 3896614 h 6096646"/>
              <a:gd name="connsiteX18" fmla="*/ 5914508 w 6957336"/>
              <a:gd name="connsiteY18" fmla="*/ 4172760 h 6096646"/>
              <a:gd name="connsiteX19" fmla="*/ 5505441 w 6957336"/>
              <a:gd name="connsiteY19" fmla="*/ 4361761 h 6096646"/>
              <a:gd name="connsiteX20" fmla="*/ 5212843 w 6957336"/>
              <a:gd name="connsiteY20" fmla="*/ 4661818 h 6096646"/>
              <a:gd name="connsiteX21" fmla="*/ 5021600 w 6957336"/>
              <a:gd name="connsiteY21" fmla="*/ 5281891 h 6096646"/>
              <a:gd name="connsiteX22" fmla="*/ 4449123 w 6957336"/>
              <a:gd name="connsiteY22" fmla="*/ 5614694 h 6096646"/>
              <a:gd name="connsiteX23" fmla="*/ 4007681 w 6957336"/>
              <a:gd name="connsiteY23" fmla="*/ 5582521 h 6096646"/>
              <a:gd name="connsiteX24" fmla="*/ 3548339 w 6957336"/>
              <a:gd name="connsiteY24" fmla="*/ 5319795 h 6096646"/>
              <a:gd name="connsiteX25" fmla="*/ 2939451 w 6957336"/>
              <a:gd name="connsiteY25" fmla="*/ 5612742 h 6096646"/>
              <a:gd name="connsiteX26" fmla="*/ 2485508 w 6957336"/>
              <a:gd name="connsiteY26" fmla="*/ 5831573 h 6096646"/>
              <a:gd name="connsiteX27" fmla="*/ 1774900 w 6957336"/>
              <a:gd name="connsiteY27" fmla="*/ 6040766 h 6096646"/>
              <a:gd name="connsiteX28" fmla="*/ 1014263 w 6957336"/>
              <a:gd name="connsiteY28" fmla="*/ 6078411 h 6096646"/>
              <a:gd name="connsiteX29" fmla="*/ 212534 w 6957336"/>
              <a:gd name="connsiteY29" fmla="*/ 5725416 h 6096646"/>
              <a:gd name="connsiteX30" fmla="*/ 49186 w 6957336"/>
              <a:gd name="connsiteY30" fmla="*/ 4184868 h 6096646"/>
              <a:gd name="connsiteX0" fmla="*/ 49186 w 6957336"/>
              <a:gd name="connsiteY0" fmla="*/ 4184868 h 6096646"/>
              <a:gd name="connsiteX1" fmla="*/ 588915 w 6957336"/>
              <a:gd name="connsiteY1" fmla="*/ 2586365 h 6096646"/>
              <a:gd name="connsiteX2" fmla="*/ 820830 w 6957336"/>
              <a:gd name="connsiteY2" fmla="*/ 2308788 h 6096646"/>
              <a:gd name="connsiteX3" fmla="*/ 1105382 w 6957336"/>
              <a:gd name="connsiteY3" fmla="*/ 2137631 h 6096646"/>
              <a:gd name="connsiteX4" fmla="*/ 2375382 w 6957336"/>
              <a:gd name="connsiteY4" fmla="*/ 1782032 h 6096646"/>
              <a:gd name="connsiteX5" fmla="*/ 2714048 w 6957336"/>
              <a:gd name="connsiteY5" fmla="*/ 1485699 h 6096646"/>
              <a:gd name="connsiteX6" fmla="*/ 2747913 w 6957336"/>
              <a:gd name="connsiteY6" fmla="*/ 1147033 h 6096646"/>
              <a:gd name="connsiteX7" fmla="*/ 2693267 w 6957336"/>
              <a:gd name="connsiteY7" fmla="*/ 890946 h 6096646"/>
              <a:gd name="connsiteX8" fmla="*/ 2758520 w 6957336"/>
              <a:gd name="connsiteY8" fmla="*/ 44668 h 6096646"/>
              <a:gd name="connsiteX9" fmla="*/ 4737581 w 6957336"/>
              <a:gd name="connsiteY9" fmla="*/ 181833 h 6096646"/>
              <a:gd name="connsiteX10" fmla="*/ 5304848 w 6957336"/>
              <a:gd name="connsiteY10" fmla="*/ 588232 h 6096646"/>
              <a:gd name="connsiteX11" fmla="*/ 5614266 w 6957336"/>
              <a:gd name="connsiteY11" fmla="*/ 890946 h 6096646"/>
              <a:gd name="connsiteX12" fmla="*/ 5767909 w 6957336"/>
              <a:gd name="connsiteY12" fmla="*/ 1460300 h 6096646"/>
              <a:gd name="connsiteX13" fmla="*/ 6519966 w 6957336"/>
              <a:gd name="connsiteY13" fmla="*/ 1525894 h 6096646"/>
              <a:gd name="connsiteX14" fmla="*/ 6841222 w 6957336"/>
              <a:gd name="connsiteY14" fmla="*/ 1716905 h 6096646"/>
              <a:gd name="connsiteX15" fmla="*/ 6957336 w 6957336"/>
              <a:gd name="connsiteY15" fmla="*/ 2555362 h 6096646"/>
              <a:gd name="connsiteX16" fmla="*/ 6826894 w 6957336"/>
              <a:gd name="connsiteY16" fmla="*/ 3424566 h 6096646"/>
              <a:gd name="connsiteX17" fmla="*/ 6472005 w 6957336"/>
              <a:gd name="connsiteY17" fmla="*/ 3896614 h 6096646"/>
              <a:gd name="connsiteX18" fmla="*/ 5914508 w 6957336"/>
              <a:gd name="connsiteY18" fmla="*/ 4172760 h 6096646"/>
              <a:gd name="connsiteX19" fmla="*/ 5505441 w 6957336"/>
              <a:gd name="connsiteY19" fmla="*/ 4361761 h 6096646"/>
              <a:gd name="connsiteX20" fmla="*/ 5212843 w 6957336"/>
              <a:gd name="connsiteY20" fmla="*/ 4661818 h 6096646"/>
              <a:gd name="connsiteX21" fmla="*/ 5021600 w 6957336"/>
              <a:gd name="connsiteY21" fmla="*/ 5281891 h 6096646"/>
              <a:gd name="connsiteX22" fmla="*/ 4449123 w 6957336"/>
              <a:gd name="connsiteY22" fmla="*/ 5614694 h 6096646"/>
              <a:gd name="connsiteX23" fmla="*/ 4007681 w 6957336"/>
              <a:gd name="connsiteY23" fmla="*/ 5582521 h 6096646"/>
              <a:gd name="connsiteX24" fmla="*/ 3548339 w 6957336"/>
              <a:gd name="connsiteY24" fmla="*/ 5319795 h 6096646"/>
              <a:gd name="connsiteX25" fmla="*/ 2939451 w 6957336"/>
              <a:gd name="connsiteY25" fmla="*/ 5612742 h 6096646"/>
              <a:gd name="connsiteX26" fmla="*/ 2485508 w 6957336"/>
              <a:gd name="connsiteY26" fmla="*/ 5831573 h 6096646"/>
              <a:gd name="connsiteX27" fmla="*/ 1774900 w 6957336"/>
              <a:gd name="connsiteY27" fmla="*/ 6040766 h 6096646"/>
              <a:gd name="connsiteX28" fmla="*/ 1014263 w 6957336"/>
              <a:gd name="connsiteY28" fmla="*/ 6078411 h 6096646"/>
              <a:gd name="connsiteX29" fmla="*/ 212534 w 6957336"/>
              <a:gd name="connsiteY29" fmla="*/ 5725416 h 6096646"/>
              <a:gd name="connsiteX30" fmla="*/ 49186 w 6957336"/>
              <a:gd name="connsiteY30" fmla="*/ 4184868 h 6096646"/>
              <a:gd name="connsiteX0" fmla="*/ 49186 w 6957336"/>
              <a:gd name="connsiteY0" fmla="*/ 4184868 h 6096646"/>
              <a:gd name="connsiteX1" fmla="*/ 588915 w 6957336"/>
              <a:gd name="connsiteY1" fmla="*/ 2586365 h 6096646"/>
              <a:gd name="connsiteX2" fmla="*/ 820830 w 6957336"/>
              <a:gd name="connsiteY2" fmla="*/ 2308788 h 6096646"/>
              <a:gd name="connsiteX3" fmla="*/ 1105382 w 6957336"/>
              <a:gd name="connsiteY3" fmla="*/ 2137631 h 6096646"/>
              <a:gd name="connsiteX4" fmla="*/ 2375382 w 6957336"/>
              <a:gd name="connsiteY4" fmla="*/ 1782032 h 6096646"/>
              <a:gd name="connsiteX5" fmla="*/ 2714048 w 6957336"/>
              <a:gd name="connsiteY5" fmla="*/ 1485699 h 6096646"/>
              <a:gd name="connsiteX6" fmla="*/ 2747913 w 6957336"/>
              <a:gd name="connsiteY6" fmla="*/ 1147033 h 6096646"/>
              <a:gd name="connsiteX7" fmla="*/ 2693267 w 6957336"/>
              <a:gd name="connsiteY7" fmla="*/ 890946 h 6096646"/>
              <a:gd name="connsiteX8" fmla="*/ 2758520 w 6957336"/>
              <a:gd name="connsiteY8" fmla="*/ 44668 h 6096646"/>
              <a:gd name="connsiteX9" fmla="*/ 4737581 w 6957336"/>
              <a:gd name="connsiteY9" fmla="*/ 181833 h 6096646"/>
              <a:gd name="connsiteX10" fmla="*/ 5304848 w 6957336"/>
              <a:gd name="connsiteY10" fmla="*/ 588232 h 6096646"/>
              <a:gd name="connsiteX11" fmla="*/ 5614266 w 6957336"/>
              <a:gd name="connsiteY11" fmla="*/ 890946 h 6096646"/>
              <a:gd name="connsiteX12" fmla="*/ 5767909 w 6957336"/>
              <a:gd name="connsiteY12" fmla="*/ 1460300 h 6096646"/>
              <a:gd name="connsiteX13" fmla="*/ 6519966 w 6957336"/>
              <a:gd name="connsiteY13" fmla="*/ 1525894 h 6096646"/>
              <a:gd name="connsiteX14" fmla="*/ 6841222 w 6957336"/>
              <a:gd name="connsiteY14" fmla="*/ 1716905 h 6096646"/>
              <a:gd name="connsiteX15" fmla="*/ 6957336 w 6957336"/>
              <a:gd name="connsiteY15" fmla="*/ 2555362 h 6096646"/>
              <a:gd name="connsiteX16" fmla="*/ 6826894 w 6957336"/>
              <a:gd name="connsiteY16" fmla="*/ 3424566 h 6096646"/>
              <a:gd name="connsiteX17" fmla="*/ 6472005 w 6957336"/>
              <a:gd name="connsiteY17" fmla="*/ 3896614 h 6096646"/>
              <a:gd name="connsiteX18" fmla="*/ 5914508 w 6957336"/>
              <a:gd name="connsiteY18" fmla="*/ 4172760 h 6096646"/>
              <a:gd name="connsiteX19" fmla="*/ 5505441 w 6957336"/>
              <a:gd name="connsiteY19" fmla="*/ 4361761 h 6096646"/>
              <a:gd name="connsiteX20" fmla="*/ 5212843 w 6957336"/>
              <a:gd name="connsiteY20" fmla="*/ 4661818 h 6096646"/>
              <a:gd name="connsiteX21" fmla="*/ 5021600 w 6957336"/>
              <a:gd name="connsiteY21" fmla="*/ 5281891 h 6096646"/>
              <a:gd name="connsiteX22" fmla="*/ 4449123 w 6957336"/>
              <a:gd name="connsiteY22" fmla="*/ 5614694 h 6096646"/>
              <a:gd name="connsiteX23" fmla="*/ 4007681 w 6957336"/>
              <a:gd name="connsiteY23" fmla="*/ 5582521 h 6096646"/>
              <a:gd name="connsiteX24" fmla="*/ 3548339 w 6957336"/>
              <a:gd name="connsiteY24" fmla="*/ 5319795 h 6096646"/>
              <a:gd name="connsiteX25" fmla="*/ 2939451 w 6957336"/>
              <a:gd name="connsiteY25" fmla="*/ 5612742 h 6096646"/>
              <a:gd name="connsiteX26" fmla="*/ 2485508 w 6957336"/>
              <a:gd name="connsiteY26" fmla="*/ 5831573 h 6096646"/>
              <a:gd name="connsiteX27" fmla="*/ 1774900 w 6957336"/>
              <a:gd name="connsiteY27" fmla="*/ 6040766 h 6096646"/>
              <a:gd name="connsiteX28" fmla="*/ 1014263 w 6957336"/>
              <a:gd name="connsiteY28" fmla="*/ 6078411 h 6096646"/>
              <a:gd name="connsiteX29" fmla="*/ 212534 w 6957336"/>
              <a:gd name="connsiteY29" fmla="*/ 5725416 h 6096646"/>
              <a:gd name="connsiteX30" fmla="*/ 49186 w 6957336"/>
              <a:gd name="connsiteY30" fmla="*/ 4184868 h 6096646"/>
              <a:gd name="connsiteX0" fmla="*/ 49186 w 6957336"/>
              <a:gd name="connsiteY0" fmla="*/ 4184868 h 6096646"/>
              <a:gd name="connsiteX1" fmla="*/ 588915 w 6957336"/>
              <a:gd name="connsiteY1" fmla="*/ 2586365 h 6096646"/>
              <a:gd name="connsiteX2" fmla="*/ 820830 w 6957336"/>
              <a:gd name="connsiteY2" fmla="*/ 2308788 h 6096646"/>
              <a:gd name="connsiteX3" fmla="*/ 1105382 w 6957336"/>
              <a:gd name="connsiteY3" fmla="*/ 2137631 h 6096646"/>
              <a:gd name="connsiteX4" fmla="*/ 2375382 w 6957336"/>
              <a:gd name="connsiteY4" fmla="*/ 1782032 h 6096646"/>
              <a:gd name="connsiteX5" fmla="*/ 2714048 w 6957336"/>
              <a:gd name="connsiteY5" fmla="*/ 1485699 h 6096646"/>
              <a:gd name="connsiteX6" fmla="*/ 2747913 w 6957336"/>
              <a:gd name="connsiteY6" fmla="*/ 1147033 h 6096646"/>
              <a:gd name="connsiteX7" fmla="*/ 2693267 w 6957336"/>
              <a:gd name="connsiteY7" fmla="*/ 890946 h 6096646"/>
              <a:gd name="connsiteX8" fmla="*/ 2758520 w 6957336"/>
              <a:gd name="connsiteY8" fmla="*/ 44668 h 6096646"/>
              <a:gd name="connsiteX9" fmla="*/ 4737581 w 6957336"/>
              <a:gd name="connsiteY9" fmla="*/ 181833 h 6096646"/>
              <a:gd name="connsiteX10" fmla="*/ 5304848 w 6957336"/>
              <a:gd name="connsiteY10" fmla="*/ 588232 h 6096646"/>
              <a:gd name="connsiteX11" fmla="*/ 5614266 w 6957336"/>
              <a:gd name="connsiteY11" fmla="*/ 890946 h 6096646"/>
              <a:gd name="connsiteX12" fmla="*/ 5767909 w 6957336"/>
              <a:gd name="connsiteY12" fmla="*/ 1460300 h 6096646"/>
              <a:gd name="connsiteX13" fmla="*/ 6519966 w 6957336"/>
              <a:gd name="connsiteY13" fmla="*/ 1525894 h 6096646"/>
              <a:gd name="connsiteX14" fmla="*/ 6841222 w 6957336"/>
              <a:gd name="connsiteY14" fmla="*/ 1716905 h 6096646"/>
              <a:gd name="connsiteX15" fmla="*/ 6957336 w 6957336"/>
              <a:gd name="connsiteY15" fmla="*/ 2555362 h 6096646"/>
              <a:gd name="connsiteX16" fmla="*/ 6826894 w 6957336"/>
              <a:gd name="connsiteY16" fmla="*/ 3424566 h 6096646"/>
              <a:gd name="connsiteX17" fmla="*/ 6472005 w 6957336"/>
              <a:gd name="connsiteY17" fmla="*/ 3896614 h 6096646"/>
              <a:gd name="connsiteX18" fmla="*/ 5914508 w 6957336"/>
              <a:gd name="connsiteY18" fmla="*/ 4172760 h 6096646"/>
              <a:gd name="connsiteX19" fmla="*/ 5505441 w 6957336"/>
              <a:gd name="connsiteY19" fmla="*/ 4361761 h 6096646"/>
              <a:gd name="connsiteX20" fmla="*/ 5212843 w 6957336"/>
              <a:gd name="connsiteY20" fmla="*/ 4661818 h 6096646"/>
              <a:gd name="connsiteX21" fmla="*/ 5021600 w 6957336"/>
              <a:gd name="connsiteY21" fmla="*/ 5281891 h 6096646"/>
              <a:gd name="connsiteX22" fmla="*/ 4449123 w 6957336"/>
              <a:gd name="connsiteY22" fmla="*/ 5614694 h 6096646"/>
              <a:gd name="connsiteX23" fmla="*/ 4007681 w 6957336"/>
              <a:gd name="connsiteY23" fmla="*/ 5582521 h 6096646"/>
              <a:gd name="connsiteX24" fmla="*/ 3548339 w 6957336"/>
              <a:gd name="connsiteY24" fmla="*/ 5319795 h 6096646"/>
              <a:gd name="connsiteX25" fmla="*/ 2939451 w 6957336"/>
              <a:gd name="connsiteY25" fmla="*/ 5612742 h 6096646"/>
              <a:gd name="connsiteX26" fmla="*/ 2485508 w 6957336"/>
              <a:gd name="connsiteY26" fmla="*/ 5831573 h 6096646"/>
              <a:gd name="connsiteX27" fmla="*/ 1774900 w 6957336"/>
              <a:gd name="connsiteY27" fmla="*/ 6040766 h 6096646"/>
              <a:gd name="connsiteX28" fmla="*/ 1014263 w 6957336"/>
              <a:gd name="connsiteY28" fmla="*/ 6078411 h 6096646"/>
              <a:gd name="connsiteX29" fmla="*/ 212534 w 6957336"/>
              <a:gd name="connsiteY29" fmla="*/ 5725416 h 6096646"/>
              <a:gd name="connsiteX30" fmla="*/ 49186 w 6957336"/>
              <a:gd name="connsiteY30" fmla="*/ 4184868 h 6096646"/>
              <a:gd name="connsiteX0" fmla="*/ 49186 w 6957336"/>
              <a:gd name="connsiteY0" fmla="*/ 4184868 h 6096646"/>
              <a:gd name="connsiteX1" fmla="*/ 588915 w 6957336"/>
              <a:gd name="connsiteY1" fmla="*/ 2586365 h 6096646"/>
              <a:gd name="connsiteX2" fmla="*/ 820830 w 6957336"/>
              <a:gd name="connsiteY2" fmla="*/ 2308788 h 6096646"/>
              <a:gd name="connsiteX3" fmla="*/ 1105382 w 6957336"/>
              <a:gd name="connsiteY3" fmla="*/ 2137631 h 6096646"/>
              <a:gd name="connsiteX4" fmla="*/ 2375382 w 6957336"/>
              <a:gd name="connsiteY4" fmla="*/ 1782032 h 6096646"/>
              <a:gd name="connsiteX5" fmla="*/ 2714048 w 6957336"/>
              <a:gd name="connsiteY5" fmla="*/ 1485699 h 6096646"/>
              <a:gd name="connsiteX6" fmla="*/ 2747913 w 6957336"/>
              <a:gd name="connsiteY6" fmla="*/ 1147033 h 6096646"/>
              <a:gd name="connsiteX7" fmla="*/ 2693267 w 6957336"/>
              <a:gd name="connsiteY7" fmla="*/ 890946 h 6096646"/>
              <a:gd name="connsiteX8" fmla="*/ 2758520 w 6957336"/>
              <a:gd name="connsiteY8" fmla="*/ 44668 h 6096646"/>
              <a:gd name="connsiteX9" fmla="*/ 4737581 w 6957336"/>
              <a:gd name="connsiteY9" fmla="*/ 181833 h 6096646"/>
              <a:gd name="connsiteX10" fmla="*/ 5304848 w 6957336"/>
              <a:gd name="connsiteY10" fmla="*/ 588232 h 6096646"/>
              <a:gd name="connsiteX11" fmla="*/ 5614266 w 6957336"/>
              <a:gd name="connsiteY11" fmla="*/ 890946 h 6096646"/>
              <a:gd name="connsiteX12" fmla="*/ 5767909 w 6957336"/>
              <a:gd name="connsiteY12" fmla="*/ 1460300 h 6096646"/>
              <a:gd name="connsiteX13" fmla="*/ 6519966 w 6957336"/>
              <a:gd name="connsiteY13" fmla="*/ 1525894 h 6096646"/>
              <a:gd name="connsiteX14" fmla="*/ 6841222 w 6957336"/>
              <a:gd name="connsiteY14" fmla="*/ 1793105 h 6096646"/>
              <a:gd name="connsiteX15" fmla="*/ 6957336 w 6957336"/>
              <a:gd name="connsiteY15" fmla="*/ 2555362 h 6096646"/>
              <a:gd name="connsiteX16" fmla="*/ 6826894 w 6957336"/>
              <a:gd name="connsiteY16" fmla="*/ 3424566 h 6096646"/>
              <a:gd name="connsiteX17" fmla="*/ 6472005 w 6957336"/>
              <a:gd name="connsiteY17" fmla="*/ 3896614 h 6096646"/>
              <a:gd name="connsiteX18" fmla="*/ 5914508 w 6957336"/>
              <a:gd name="connsiteY18" fmla="*/ 4172760 h 6096646"/>
              <a:gd name="connsiteX19" fmla="*/ 5505441 w 6957336"/>
              <a:gd name="connsiteY19" fmla="*/ 4361761 h 6096646"/>
              <a:gd name="connsiteX20" fmla="*/ 5212843 w 6957336"/>
              <a:gd name="connsiteY20" fmla="*/ 4661818 h 6096646"/>
              <a:gd name="connsiteX21" fmla="*/ 5021600 w 6957336"/>
              <a:gd name="connsiteY21" fmla="*/ 5281891 h 6096646"/>
              <a:gd name="connsiteX22" fmla="*/ 4449123 w 6957336"/>
              <a:gd name="connsiteY22" fmla="*/ 5614694 h 6096646"/>
              <a:gd name="connsiteX23" fmla="*/ 4007681 w 6957336"/>
              <a:gd name="connsiteY23" fmla="*/ 5582521 h 6096646"/>
              <a:gd name="connsiteX24" fmla="*/ 3548339 w 6957336"/>
              <a:gd name="connsiteY24" fmla="*/ 5319795 h 6096646"/>
              <a:gd name="connsiteX25" fmla="*/ 2939451 w 6957336"/>
              <a:gd name="connsiteY25" fmla="*/ 5612742 h 6096646"/>
              <a:gd name="connsiteX26" fmla="*/ 2485508 w 6957336"/>
              <a:gd name="connsiteY26" fmla="*/ 5831573 h 6096646"/>
              <a:gd name="connsiteX27" fmla="*/ 1774900 w 6957336"/>
              <a:gd name="connsiteY27" fmla="*/ 6040766 h 6096646"/>
              <a:gd name="connsiteX28" fmla="*/ 1014263 w 6957336"/>
              <a:gd name="connsiteY28" fmla="*/ 6078411 h 6096646"/>
              <a:gd name="connsiteX29" fmla="*/ 212534 w 6957336"/>
              <a:gd name="connsiteY29" fmla="*/ 5725416 h 6096646"/>
              <a:gd name="connsiteX30" fmla="*/ 49186 w 6957336"/>
              <a:gd name="connsiteY30" fmla="*/ 4184868 h 6096646"/>
              <a:gd name="connsiteX0" fmla="*/ 49186 w 6957336"/>
              <a:gd name="connsiteY0" fmla="*/ 4184868 h 6096646"/>
              <a:gd name="connsiteX1" fmla="*/ 588915 w 6957336"/>
              <a:gd name="connsiteY1" fmla="*/ 2586365 h 6096646"/>
              <a:gd name="connsiteX2" fmla="*/ 820830 w 6957336"/>
              <a:gd name="connsiteY2" fmla="*/ 2308788 h 6096646"/>
              <a:gd name="connsiteX3" fmla="*/ 1105382 w 6957336"/>
              <a:gd name="connsiteY3" fmla="*/ 2137631 h 6096646"/>
              <a:gd name="connsiteX4" fmla="*/ 2375382 w 6957336"/>
              <a:gd name="connsiteY4" fmla="*/ 1782032 h 6096646"/>
              <a:gd name="connsiteX5" fmla="*/ 2714048 w 6957336"/>
              <a:gd name="connsiteY5" fmla="*/ 1485699 h 6096646"/>
              <a:gd name="connsiteX6" fmla="*/ 2747913 w 6957336"/>
              <a:gd name="connsiteY6" fmla="*/ 1147033 h 6096646"/>
              <a:gd name="connsiteX7" fmla="*/ 2693267 w 6957336"/>
              <a:gd name="connsiteY7" fmla="*/ 890946 h 6096646"/>
              <a:gd name="connsiteX8" fmla="*/ 2758520 w 6957336"/>
              <a:gd name="connsiteY8" fmla="*/ 44668 h 6096646"/>
              <a:gd name="connsiteX9" fmla="*/ 4737581 w 6957336"/>
              <a:gd name="connsiteY9" fmla="*/ 181833 h 6096646"/>
              <a:gd name="connsiteX10" fmla="*/ 5304848 w 6957336"/>
              <a:gd name="connsiteY10" fmla="*/ 588232 h 6096646"/>
              <a:gd name="connsiteX11" fmla="*/ 5614266 w 6957336"/>
              <a:gd name="connsiteY11" fmla="*/ 890946 h 6096646"/>
              <a:gd name="connsiteX12" fmla="*/ 5767909 w 6957336"/>
              <a:gd name="connsiteY12" fmla="*/ 1460300 h 6096646"/>
              <a:gd name="connsiteX13" fmla="*/ 6519966 w 6957336"/>
              <a:gd name="connsiteY13" fmla="*/ 1525894 h 6096646"/>
              <a:gd name="connsiteX14" fmla="*/ 6858807 w 6957336"/>
              <a:gd name="connsiteY14" fmla="*/ 1769659 h 6096646"/>
              <a:gd name="connsiteX15" fmla="*/ 6957336 w 6957336"/>
              <a:gd name="connsiteY15" fmla="*/ 2555362 h 6096646"/>
              <a:gd name="connsiteX16" fmla="*/ 6826894 w 6957336"/>
              <a:gd name="connsiteY16" fmla="*/ 3424566 h 6096646"/>
              <a:gd name="connsiteX17" fmla="*/ 6472005 w 6957336"/>
              <a:gd name="connsiteY17" fmla="*/ 3896614 h 6096646"/>
              <a:gd name="connsiteX18" fmla="*/ 5914508 w 6957336"/>
              <a:gd name="connsiteY18" fmla="*/ 4172760 h 6096646"/>
              <a:gd name="connsiteX19" fmla="*/ 5505441 w 6957336"/>
              <a:gd name="connsiteY19" fmla="*/ 4361761 h 6096646"/>
              <a:gd name="connsiteX20" fmla="*/ 5212843 w 6957336"/>
              <a:gd name="connsiteY20" fmla="*/ 4661818 h 6096646"/>
              <a:gd name="connsiteX21" fmla="*/ 5021600 w 6957336"/>
              <a:gd name="connsiteY21" fmla="*/ 5281891 h 6096646"/>
              <a:gd name="connsiteX22" fmla="*/ 4449123 w 6957336"/>
              <a:gd name="connsiteY22" fmla="*/ 5614694 h 6096646"/>
              <a:gd name="connsiteX23" fmla="*/ 4007681 w 6957336"/>
              <a:gd name="connsiteY23" fmla="*/ 5582521 h 6096646"/>
              <a:gd name="connsiteX24" fmla="*/ 3548339 w 6957336"/>
              <a:gd name="connsiteY24" fmla="*/ 5319795 h 6096646"/>
              <a:gd name="connsiteX25" fmla="*/ 2939451 w 6957336"/>
              <a:gd name="connsiteY25" fmla="*/ 5612742 h 6096646"/>
              <a:gd name="connsiteX26" fmla="*/ 2485508 w 6957336"/>
              <a:gd name="connsiteY26" fmla="*/ 5831573 h 6096646"/>
              <a:gd name="connsiteX27" fmla="*/ 1774900 w 6957336"/>
              <a:gd name="connsiteY27" fmla="*/ 6040766 h 6096646"/>
              <a:gd name="connsiteX28" fmla="*/ 1014263 w 6957336"/>
              <a:gd name="connsiteY28" fmla="*/ 6078411 h 6096646"/>
              <a:gd name="connsiteX29" fmla="*/ 212534 w 6957336"/>
              <a:gd name="connsiteY29" fmla="*/ 5725416 h 6096646"/>
              <a:gd name="connsiteX30" fmla="*/ 49186 w 6957336"/>
              <a:gd name="connsiteY30" fmla="*/ 4184868 h 6096646"/>
              <a:gd name="connsiteX0" fmla="*/ 49186 w 6957336"/>
              <a:gd name="connsiteY0" fmla="*/ 4184868 h 6096646"/>
              <a:gd name="connsiteX1" fmla="*/ 588915 w 6957336"/>
              <a:gd name="connsiteY1" fmla="*/ 2586365 h 6096646"/>
              <a:gd name="connsiteX2" fmla="*/ 820830 w 6957336"/>
              <a:gd name="connsiteY2" fmla="*/ 2308788 h 6096646"/>
              <a:gd name="connsiteX3" fmla="*/ 1105382 w 6957336"/>
              <a:gd name="connsiteY3" fmla="*/ 2137631 h 6096646"/>
              <a:gd name="connsiteX4" fmla="*/ 2375382 w 6957336"/>
              <a:gd name="connsiteY4" fmla="*/ 1782032 h 6096646"/>
              <a:gd name="connsiteX5" fmla="*/ 2714048 w 6957336"/>
              <a:gd name="connsiteY5" fmla="*/ 1485699 h 6096646"/>
              <a:gd name="connsiteX6" fmla="*/ 2747913 w 6957336"/>
              <a:gd name="connsiteY6" fmla="*/ 1147033 h 6096646"/>
              <a:gd name="connsiteX7" fmla="*/ 2693267 w 6957336"/>
              <a:gd name="connsiteY7" fmla="*/ 890946 h 6096646"/>
              <a:gd name="connsiteX8" fmla="*/ 2758520 w 6957336"/>
              <a:gd name="connsiteY8" fmla="*/ 44668 h 6096646"/>
              <a:gd name="connsiteX9" fmla="*/ 4737581 w 6957336"/>
              <a:gd name="connsiteY9" fmla="*/ 181833 h 6096646"/>
              <a:gd name="connsiteX10" fmla="*/ 5304848 w 6957336"/>
              <a:gd name="connsiteY10" fmla="*/ 588232 h 6096646"/>
              <a:gd name="connsiteX11" fmla="*/ 5614266 w 6957336"/>
              <a:gd name="connsiteY11" fmla="*/ 890946 h 6096646"/>
              <a:gd name="connsiteX12" fmla="*/ 5767909 w 6957336"/>
              <a:gd name="connsiteY12" fmla="*/ 1460300 h 6096646"/>
              <a:gd name="connsiteX13" fmla="*/ 6519966 w 6957336"/>
              <a:gd name="connsiteY13" fmla="*/ 1525894 h 6096646"/>
              <a:gd name="connsiteX14" fmla="*/ 6858807 w 6957336"/>
              <a:gd name="connsiteY14" fmla="*/ 1769659 h 6096646"/>
              <a:gd name="connsiteX15" fmla="*/ 6957336 w 6957336"/>
              <a:gd name="connsiteY15" fmla="*/ 2555362 h 6096646"/>
              <a:gd name="connsiteX16" fmla="*/ 6826894 w 6957336"/>
              <a:gd name="connsiteY16" fmla="*/ 3424566 h 6096646"/>
              <a:gd name="connsiteX17" fmla="*/ 6472005 w 6957336"/>
              <a:gd name="connsiteY17" fmla="*/ 3896614 h 6096646"/>
              <a:gd name="connsiteX18" fmla="*/ 5914508 w 6957336"/>
              <a:gd name="connsiteY18" fmla="*/ 4172760 h 6096646"/>
              <a:gd name="connsiteX19" fmla="*/ 5505441 w 6957336"/>
              <a:gd name="connsiteY19" fmla="*/ 4361761 h 6096646"/>
              <a:gd name="connsiteX20" fmla="*/ 5212843 w 6957336"/>
              <a:gd name="connsiteY20" fmla="*/ 4661818 h 6096646"/>
              <a:gd name="connsiteX21" fmla="*/ 5021600 w 6957336"/>
              <a:gd name="connsiteY21" fmla="*/ 5281891 h 6096646"/>
              <a:gd name="connsiteX22" fmla="*/ 4449123 w 6957336"/>
              <a:gd name="connsiteY22" fmla="*/ 5614694 h 6096646"/>
              <a:gd name="connsiteX23" fmla="*/ 4007681 w 6957336"/>
              <a:gd name="connsiteY23" fmla="*/ 5582521 h 6096646"/>
              <a:gd name="connsiteX24" fmla="*/ 3548339 w 6957336"/>
              <a:gd name="connsiteY24" fmla="*/ 5319795 h 6096646"/>
              <a:gd name="connsiteX25" fmla="*/ 2939451 w 6957336"/>
              <a:gd name="connsiteY25" fmla="*/ 5612742 h 6096646"/>
              <a:gd name="connsiteX26" fmla="*/ 2485508 w 6957336"/>
              <a:gd name="connsiteY26" fmla="*/ 5831573 h 6096646"/>
              <a:gd name="connsiteX27" fmla="*/ 1774900 w 6957336"/>
              <a:gd name="connsiteY27" fmla="*/ 6040766 h 6096646"/>
              <a:gd name="connsiteX28" fmla="*/ 1014263 w 6957336"/>
              <a:gd name="connsiteY28" fmla="*/ 6078411 h 6096646"/>
              <a:gd name="connsiteX29" fmla="*/ 212534 w 6957336"/>
              <a:gd name="connsiteY29" fmla="*/ 5725416 h 6096646"/>
              <a:gd name="connsiteX30" fmla="*/ 49186 w 6957336"/>
              <a:gd name="connsiteY30" fmla="*/ 4184868 h 6096646"/>
              <a:gd name="connsiteX0" fmla="*/ 49186 w 6957336"/>
              <a:gd name="connsiteY0" fmla="*/ 4184868 h 6096646"/>
              <a:gd name="connsiteX1" fmla="*/ 588915 w 6957336"/>
              <a:gd name="connsiteY1" fmla="*/ 2586365 h 6096646"/>
              <a:gd name="connsiteX2" fmla="*/ 820830 w 6957336"/>
              <a:gd name="connsiteY2" fmla="*/ 2308788 h 6096646"/>
              <a:gd name="connsiteX3" fmla="*/ 1105382 w 6957336"/>
              <a:gd name="connsiteY3" fmla="*/ 2137631 h 6096646"/>
              <a:gd name="connsiteX4" fmla="*/ 2375382 w 6957336"/>
              <a:gd name="connsiteY4" fmla="*/ 1782032 h 6096646"/>
              <a:gd name="connsiteX5" fmla="*/ 2714048 w 6957336"/>
              <a:gd name="connsiteY5" fmla="*/ 1485699 h 6096646"/>
              <a:gd name="connsiteX6" fmla="*/ 2747913 w 6957336"/>
              <a:gd name="connsiteY6" fmla="*/ 1147033 h 6096646"/>
              <a:gd name="connsiteX7" fmla="*/ 2693267 w 6957336"/>
              <a:gd name="connsiteY7" fmla="*/ 890946 h 6096646"/>
              <a:gd name="connsiteX8" fmla="*/ 2758520 w 6957336"/>
              <a:gd name="connsiteY8" fmla="*/ 44668 h 6096646"/>
              <a:gd name="connsiteX9" fmla="*/ 4737581 w 6957336"/>
              <a:gd name="connsiteY9" fmla="*/ 181833 h 6096646"/>
              <a:gd name="connsiteX10" fmla="*/ 5304848 w 6957336"/>
              <a:gd name="connsiteY10" fmla="*/ 588232 h 6096646"/>
              <a:gd name="connsiteX11" fmla="*/ 5614266 w 6957336"/>
              <a:gd name="connsiteY11" fmla="*/ 890946 h 6096646"/>
              <a:gd name="connsiteX12" fmla="*/ 5767909 w 6957336"/>
              <a:gd name="connsiteY12" fmla="*/ 1460300 h 6096646"/>
              <a:gd name="connsiteX13" fmla="*/ 6519966 w 6957336"/>
              <a:gd name="connsiteY13" fmla="*/ 1525894 h 6096646"/>
              <a:gd name="connsiteX14" fmla="*/ 6858807 w 6957336"/>
              <a:gd name="connsiteY14" fmla="*/ 1769659 h 6096646"/>
              <a:gd name="connsiteX15" fmla="*/ 6957336 w 6957336"/>
              <a:gd name="connsiteY15" fmla="*/ 2555362 h 6096646"/>
              <a:gd name="connsiteX16" fmla="*/ 6826894 w 6957336"/>
              <a:gd name="connsiteY16" fmla="*/ 3424566 h 6096646"/>
              <a:gd name="connsiteX17" fmla="*/ 6472005 w 6957336"/>
              <a:gd name="connsiteY17" fmla="*/ 3896614 h 6096646"/>
              <a:gd name="connsiteX18" fmla="*/ 5914508 w 6957336"/>
              <a:gd name="connsiteY18" fmla="*/ 4172760 h 6096646"/>
              <a:gd name="connsiteX19" fmla="*/ 5505441 w 6957336"/>
              <a:gd name="connsiteY19" fmla="*/ 4361761 h 6096646"/>
              <a:gd name="connsiteX20" fmla="*/ 5212843 w 6957336"/>
              <a:gd name="connsiteY20" fmla="*/ 4661818 h 6096646"/>
              <a:gd name="connsiteX21" fmla="*/ 5021600 w 6957336"/>
              <a:gd name="connsiteY21" fmla="*/ 5281891 h 6096646"/>
              <a:gd name="connsiteX22" fmla="*/ 4449123 w 6957336"/>
              <a:gd name="connsiteY22" fmla="*/ 5614694 h 6096646"/>
              <a:gd name="connsiteX23" fmla="*/ 4007681 w 6957336"/>
              <a:gd name="connsiteY23" fmla="*/ 5582521 h 6096646"/>
              <a:gd name="connsiteX24" fmla="*/ 3548339 w 6957336"/>
              <a:gd name="connsiteY24" fmla="*/ 5319795 h 6096646"/>
              <a:gd name="connsiteX25" fmla="*/ 2939451 w 6957336"/>
              <a:gd name="connsiteY25" fmla="*/ 5612742 h 6096646"/>
              <a:gd name="connsiteX26" fmla="*/ 2485508 w 6957336"/>
              <a:gd name="connsiteY26" fmla="*/ 5831573 h 6096646"/>
              <a:gd name="connsiteX27" fmla="*/ 1774900 w 6957336"/>
              <a:gd name="connsiteY27" fmla="*/ 6040766 h 6096646"/>
              <a:gd name="connsiteX28" fmla="*/ 1014263 w 6957336"/>
              <a:gd name="connsiteY28" fmla="*/ 6078411 h 6096646"/>
              <a:gd name="connsiteX29" fmla="*/ 212534 w 6957336"/>
              <a:gd name="connsiteY29" fmla="*/ 5725416 h 6096646"/>
              <a:gd name="connsiteX30" fmla="*/ 49186 w 6957336"/>
              <a:gd name="connsiteY30" fmla="*/ 4184868 h 6096646"/>
              <a:gd name="connsiteX0" fmla="*/ 49186 w 6957336"/>
              <a:gd name="connsiteY0" fmla="*/ 4184868 h 6096646"/>
              <a:gd name="connsiteX1" fmla="*/ 588915 w 6957336"/>
              <a:gd name="connsiteY1" fmla="*/ 2586365 h 6096646"/>
              <a:gd name="connsiteX2" fmla="*/ 820830 w 6957336"/>
              <a:gd name="connsiteY2" fmla="*/ 2308788 h 6096646"/>
              <a:gd name="connsiteX3" fmla="*/ 1105382 w 6957336"/>
              <a:gd name="connsiteY3" fmla="*/ 2137631 h 6096646"/>
              <a:gd name="connsiteX4" fmla="*/ 2375382 w 6957336"/>
              <a:gd name="connsiteY4" fmla="*/ 1782032 h 6096646"/>
              <a:gd name="connsiteX5" fmla="*/ 2714048 w 6957336"/>
              <a:gd name="connsiteY5" fmla="*/ 1485699 h 6096646"/>
              <a:gd name="connsiteX6" fmla="*/ 2747913 w 6957336"/>
              <a:gd name="connsiteY6" fmla="*/ 1147033 h 6096646"/>
              <a:gd name="connsiteX7" fmla="*/ 2693267 w 6957336"/>
              <a:gd name="connsiteY7" fmla="*/ 890946 h 6096646"/>
              <a:gd name="connsiteX8" fmla="*/ 2758520 w 6957336"/>
              <a:gd name="connsiteY8" fmla="*/ 44668 h 6096646"/>
              <a:gd name="connsiteX9" fmla="*/ 4737581 w 6957336"/>
              <a:gd name="connsiteY9" fmla="*/ 181833 h 6096646"/>
              <a:gd name="connsiteX10" fmla="*/ 5304848 w 6957336"/>
              <a:gd name="connsiteY10" fmla="*/ 588232 h 6096646"/>
              <a:gd name="connsiteX11" fmla="*/ 5373943 w 6957336"/>
              <a:gd name="connsiteY11" fmla="*/ 1031623 h 6096646"/>
              <a:gd name="connsiteX12" fmla="*/ 5767909 w 6957336"/>
              <a:gd name="connsiteY12" fmla="*/ 1460300 h 6096646"/>
              <a:gd name="connsiteX13" fmla="*/ 6519966 w 6957336"/>
              <a:gd name="connsiteY13" fmla="*/ 1525894 h 6096646"/>
              <a:gd name="connsiteX14" fmla="*/ 6858807 w 6957336"/>
              <a:gd name="connsiteY14" fmla="*/ 1769659 h 6096646"/>
              <a:gd name="connsiteX15" fmla="*/ 6957336 w 6957336"/>
              <a:gd name="connsiteY15" fmla="*/ 2555362 h 6096646"/>
              <a:gd name="connsiteX16" fmla="*/ 6826894 w 6957336"/>
              <a:gd name="connsiteY16" fmla="*/ 3424566 h 6096646"/>
              <a:gd name="connsiteX17" fmla="*/ 6472005 w 6957336"/>
              <a:gd name="connsiteY17" fmla="*/ 3896614 h 6096646"/>
              <a:gd name="connsiteX18" fmla="*/ 5914508 w 6957336"/>
              <a:gd name="connsiteY18" fmla="*/ 4172760 h 6096646"/>
              <a:gd name="connsiteX19" fmla="*/ 5505441 w 6957336"/>
              <a:gd name="connsiteY19" fmla="*/ 4361761 h 6096646"/>
              <a:gd name="connsiteX20" fmla="*/ 5212843 w 6957336"/>
              <a:gd name="connsiteY20" fmla="*/ 4661818 h 6096646"/>
              <a:gd name="connsiteX21" fmla="*/ 5021600 w 6957336"/>
              <a:gd name="connsiteY21" fmla="*/ 5281891 h 6096646"/>
              <a:gd name="connsiteX22" fmla="*/ 4449123 w 6957336"/>
              <a:gd name="connsiteY22" fmla="*/ 5614694 h 6096646"/>
              <a:gd name="connsiteX23" fmla="*/ 4007681 w 6957336"/>
              <a:gd name="connsiteY23" fmla="*/ 5582521 h 6096646"/>
              <a:gd name="connsiteX24" fmla="*/ 3548339 w 6957336"/>
              <a:gd name="connsiteY24" fmla="*/ 5319795 h 6096646"/>
              <a:gd name="connsiteX25" fmla="*/ 2939451 w 6957336"/>
              <a:gd name="connsiteY25" fmla="*/ 5612742 h 6096646"/>
              <a:gd name="connsiteX26" fmla="*/ 2485508 w 6957336"/>
              <a:gd name="connsiteY26" fmla="*/ 5831573 h 6096646"/>
              <a:gd name="connsiteX27" fmla="*/ 1774900 w 6957336"/>
              <a:gd name="connsiteY27" fmla="*/ 6040766 h 6096646"/>
              <a:gd name="connsiteX28" fmla="*/ 1014263 w 6957336"/>
              <a:gd name="connsiteY28" fmla="*/ 6078411 h 6096646"/>
              <a:gd name="connsiteX29" fmla="*/ 212534 w 6957336"/>
              <a:gd name="connsiteY29" fmla="*/ 5725416 h 6096646"/>
              <a:gd name="connsiteX30" fmla="*/ 49186 w 6957336"/>
              <a:gd name="connsiteY30" fmla="*/ 4184868 h 6096646"/>
              <a:gd name="connsiteX0" fmla="*/ 49186 w 6957336"/>
              <a:gd name="connsiteY0" fmla="*/ 4184868 h 6096646"/>
              <a:gd name="connsiteX1" fmla="*/ 588915 w 6957336"/>
              <a:gd name="connsiteY1" fmla="*/ 2586365 h 6096646"/>
              <a:gd name="connsiteX2" fmla="*/ 820830 w 6957336"/>
              <a:gd name="connsiteY2" fmla="*/ 2308788 h 6096646"/>
              <a:gd name="connsiteX3" fmla="*/ 1105382 w 6957336"/>
              <a:gd name="connsiteY3" fmla="*/ 2137631 h 6096646"/>
              <a:gd name="connsiteX4" fmla="*/ 2375382 w 6957336"/>
              <a:gd name="connsiteY4" fmla="*/ 1782032 h 6096646"/>
              <a:gd name="connsiteX5" fmla="*/ 2714048 w 6957336"/>
              <a:gd name="connsiteY5" fmla="*/ 1485699 h 6096646"/>
              <a:gd name="connsiteX6" fmla="*/ 2747913 w 6957336"/>
              <a:gd name="connsiteY6" fmla="*/ 1147033 h 6096646"/>
              <a:gd name="connsiteX7" fmla="*/ 2693267 w 6957336"/>
              <a:gd name="connsiteY7" fmla="*/ 890946 h 6096646"/>
              <a:gd name="connsiteX8" fmla="*/ 2758520 w 6957336"/>
              <a:gd name="connsiteY8" fmla="*/ 44668 h 6096646"/>
              <a:gd name="connsiteX9" fmla="*/ 4737581 w 6957336"/>
              <a:gd name="connsiteY9" fmla="*/ 181833 h 6096646"/>
              <a:gd name="connsiteX10" fmla="*/ 5304848 w 6957336"/>
              <a:gd name="connsiteY10" fmla="*/ 588232 h 6096646"/>
              <a:gd name="connsiteX11" fmla="*/ 5672881 w 6957336"/>
              <a:gd name="connsiteY11" fmla="*/ 1271946 h 6096646"/>
              <a:gd name="connsiteX12" fmla="*/ 5767909 w 6957336"/>
              <a:gd name="connsiteY12" fmla="*/ 1460300 h 6096646"/>
              <a:gd name="connsiteX13" fmla="*/ 6519966 w 6957336"/>
              <a:gd name="connsiteY13" fmla="*/ 1525894 h 6096646"/>
              <a:gd name="connsiteX14" fmla="*/ 6858807 w 6957336"/>
              <a:gd name="connsiteY14" fmla="*/ 1769659 h 6096646"/>
              <a:gd name="connsiteX15" fmla="*/ 6957336 w 6957336"/>
              <a:gd name="connsiteY15" fmla="*/ 2555362 h 6096646"/>
              <a:gd name="connsiteX16" fmla="*/ 6826894 w 6957336"/>
              <a:gd name="connsiteY16" fmla="*/ 3424566 h 6096646"/>
              <a:gd name="connsiteX17" fmla="*/ 6472005 w 6957336"/>
              <a:gd name="connsiteY17" fmla="*/ 3896614 h 6096646"/>
              <a:gd name="connsiteX18" fmla="*/ 5914508 w 6957336"/>
              <a:gd name="connsiteY18" fmla="*/ 4172760 h 6096646"/>
              <a:gd name="connsiteX19" fmla="*/ 5505441 w 6957336"/>
              <a:gd name="connsiteY19" fmla="*/ 4361761 h 6096646"/>
              <a:gd name="connsiteX20" fmla="*/ 5212843 w 6957336"/>
              <a:gd name="connsiteY20" fmla="*/ 4661818 h 6096646"/>
              <a:gd name="connsiteX21" fmla="*/ 5021600 w 6957336"/>
              <a:gd name="connsiteY21" fmla="*/ 5281891 h 6096646"/>
              <a:gd name="connsiteX22" fmla="*/ 4449123 w 6957336"/>
              <a:gd name="connsiteY22" fmla="*/ 5614694 h 6096646"/>
              <a:gd name="connsiteX23" fmla="*/ 4007681 w 6957336"/>
              <a:gd name="connsiteY23" fmla="*/ 5582521 h 6096646"/>
              <a:gd name="connsiteX24" fmla="*/ 3548339 w 6957336"/>
              <a:gd name="connsiteY24" fmla="*/ 5319795 h 6096646"/>
              <a:gd name="connsiteX25" fmla="*/ 2939451 w 6957336"/>
              <a:gd name="connsiteY25" fmla="*/ 5612742 h 6096646"/>
              <a:gd name="connsiteX26" fmla="*/ 2485508 w 6957336"/>
              <a:gd name="connsiteY26" fmla="*/ 5831573 h 6096646"/>
              <a:gd name="connsiteX27" fmla="*/ 1774900 w 6957336"/>
              <a:gd name="connsiteY27" fmla="*/ 6040766 h 6096646"/>
              <a:gd name="connsiteX28" fmla="*/ 1014263 w 6957336"/>
              <a:gd name="connsiteY28" fmla="*/ 6078411 h 6096646"/>
              <a:gd name="connsiteX29" fmla="*/ 212534 w 6957336"/>
              <a:gd name="connsiteY29" fmla="*/ 5725416 h 6096646"/>
              <a:gd name="connsiteX30" fmla="*/ 49186 w 6957336"/>
              <a:gd name="connsiteY30" fmla="*/ 4184868 h 6096646"/>
              <a:gd name="connsiteX0" fmla="*/ 49186 w 6957336"/>
              <a:gd name="connsiteY0" fmla="*/ 4184868 h 6096646"/>
              <a:gd name="connsiteX1" fmla="*/ 588915 w 6957336"/>
              <a:gd name="connsiteY1" fmla="*/ 2586365 h 6096646"/>
              <a:gd name="connsiteX2" fmla="*/ 820830 w 6957336"/>
              <a:gd name="connsiteY2" fmla="*/ 2308788 h 6096646"/>
              <a:gd name="connsiteX3" fmla="*/ 1105382 w 6957336"/>
              <a:gd name="connsiteY3" fmla="*/ 2137631 h 6096646"/>
              <a:gd name="connsiteX4" fmla="*/ 2375382 w 6957336"/>
              <a:gd name="connsiteY4" fmla="*/ 1782032 h 6096646"/>
              <a:gd name="connsiteX5" fmla="*/ 2714048 w 6957336"/>
              <a:gd name="connsiteY5" fmla="*/ 1485699 h 6096646"/>
              <a:gd name="connsiteX6" fmla="*/ 2747913 w 6957336"/>
              <a:gd name="connsiteY6" fmla="*/ 1147033 h 6096646"/>
              <a:gd name="connsiteX7" fmla="*/ 2693267 w 6957336"/>
              <a:gd name="connsiteY7" fmla="*/ 890946 h 6096646"/>
              <a:gd name="connsiteX8" fmla="*/ 2758520 w 6957336"/>
              <a:gd name="connsiteY8" fmla="*/ 44668 h 6096646"/>
              <a:gd name="connsiteX9" fmla="*/ 4737581 w 6957336"/>
              <a:gd name="connsiteY9" fmla="*/ 181833 h 6096646"/>
              <a:gd name="connsiteX10" fmla="*/ 5486556 w 6957336"/>
              <a:gd name="connsiteY10" fmla="*/ 740632 h 6096646"/>
              <a:gd name="connsiteX11" fmla="*/ 5672881 w 6957336"/>
              <a:gd name="connsiteY11" fmla="*/ 1271946 h 6096646"/>
              <a:gd name="connsiteX12" fmla="*/ 5767909 w 6957336"/>
              <a:gd name="connsiteY12" fmla="*/ 1460300 h 6096646"/>
              <a:gd name="connsiteX13" fmla="*/ 6519966 w 6957336"/>
              <a:gd name="connsiteY13" fmla="*/ 1525894 h 6096646"/>
              <a:gd name="connsiteX14" fmla="*/ 6858807 w 6957336"/>
              <a:gd name="connsiteY14" fmla="*/ 1769659 h 6096646"/>
              <a:gd name="connsiteX15" fmla="*/ 6957336 w 6957336"/>
              <a:gd name="connsiteY15" fmla="*/ 2555362 h 6096646"/>
              <a:gd name="connsiteX16" fmla="*/ 6826894 w 6957336"/>
              <a:gd name="connsiteY16" fmla="*/ 3424566 h 6096646"/>
              <a:gd name="connsiteX17" fmla="*/ 6472005 w 6957336"/>
              <a:gd name="connsiteY17" fmla="*/ 3896614 h 6096646"/>
              <a:gd name="connsiteX18" fmla="*/ 5914508 w 6957336"/>
              <a:gd name="connsiteY18" fmla="*/ 4172760 h 6096646"/>
              <a:gd name="connsiteX19" fmla="*/ 5505441 w 6957336"/>
              <a:gd name="connsiteY19" fmla="*/ 4361761 h 6096646"/>
              <a:gd name="connsiteX20" fmla="*/ 5212843 w 6957336"/>
              <a:gd name="connsiteY20" fmla="*/ 4661818 h 6096646"/>
              <a:gd name="connsiteX21" fmla="*/ 5021600 w 6957336"/>
              <a:gd name="connsiteY21" fmla="*/ 5281891 h 6096646"/>
              <a:gd name="connsiteX22" fmla="*/ 4449123 w 6957336"/>
              <a:gd name="connsiteY22" fmla="*/ 5614694 h 6096646"/>
              <a:gd name="connsiteX23" fmla="*/ 4007681 w 6957336"/>
              <a:gd name="connsiteY23" fmla="*/ 5582521 h 6096646"/>
              <a:gd name="connsiteX24" fmla="*/ 3548339 w 6957336"/>
              <a:gd name="connsiteY24" fmla="*/ 5319795 h 6096646"/>
              <a:gd name="connsiteX25" fmla="*/ 2939451 w 6957336"/>
              <a:gd name="connsiteY25" fmla="*/ 5612742 h 6096646"/>
              <a:gd name="connsiteX26" fmla="*/ 2485508 w 6957336"/>
              <a:gd name="connsiteY26" fmla="*/ 5831573 h 6096646"/>
              <a:gd name="connsiteX27" fmla="*/ 1774900 w 6957336"/>
              <a:gd name="connsiteY27" fmla="*/ 6040766 h 6096646"/>
              <a:gd name="connsiteX28" fmla="*/ 1014263 w 6957336"/>
              <a:gd name="connsiteY28" fmla="*/ 6078411 h 6096646"/>
              <a:gd name="connsiteX29" fmla="*/ 212534 w 6957336"/>
              <a:gd name="connsiteY29" fmla="*/ 5725416 h 6096646"/>
              <a:gd name="connsiteX30" fmla="*/ 49186 w 6957336"/>
              <a:gd name="connsiteY30" fmla="*/ 4184868 h 6096646"/>
              <a:gd name="connsiteX0" fmla="*/ 49186 w 6957336"/>
              <a:gd name="connsiteY0" fmla="*/ 4184868 h 6096646"/>
              <a:gd name="connsiteX1" fmla="*/ 588915 w 6957336"/>
              <a:gd name="connsiteY1" fmla="*/ 2586365 h 6096646"/>
              <a:gd name="connsiteX2" fmla="*/ 820830 w 6957336"/>
              <a:gd name="connsiteY2" fmla="*/ 2308788 h 6096646"/>
              <a:gd name="connsiteX3" fmla="*/ 1105382 w 6957336"/>
              <a:gd name="connsiteY3" fmla="*/ 2137631 h 6096646"/>
              <a:gd name="connsiteX4" fmla="*/ 2375382 w 6957336"/>
              <a:gd name="connsiteY4" fmla="*/ 1782032 h 6096646"/>
              <a:gd name="connsiteX5" fmla="*/ 2714048 w 6957336"/>
              <a:gd name="connsiteY5" fmla="*/ 1485699 h 6096646"/>
              <a:gd name="connsiteX6" fmla="*/ 2747913 w 6957336"/>
              <a:gd name="connsiteY6" fmla="*/ 1147033 h 6096646"/>
              <a:gd name="connsiteX7" fmla="*/ 2693267 w 6957336"/>
              <a:gd name="connsiteY7" fmla="*/ 890946 h 6096646"/>
              <a:gd name="connsiteX8" fmla="*/ 2758520 w 6957336"/>
              <a:gd name="connsiteY8" fmla="*/ 44668 h 6096646"/>
              <a:gd name="connsiteX9" fmla="*/ 4737581 w 6957336"/>
              <a:gd name="connsiteY9" fmla="*/ 181833 h 6096646"/>
              <a:gd name="connsiteX10" fmla="*/ 5486556 w 6957336"/>
              <a:gd name="connsiteY10" fmla="*/ 740632 h 6096646"/>
              <a:gd name="connsiteX11" fmla="*/ 5672881 w 6957336"/>
              <a:gd name="connsiteY11" fmla="*/ 1271946 h 6096646"/>
              <a:gd name="connsiteX12" fmla="*/ 5808939 w 6957336"/>
              <a:gd name="connsiteY12" fmla="*/ 1530638 h 6096646"/>
              <a:gd name="connsiteX13" fmla="*/ 6519966 w 6957336"/>
              <a:gd name="connsiteY13" fmla="*/ 1525894 h 6096646"/>
              <a:gd name="connsiteX14" fmla="*/ 6858807 w 6957336"/>
              <a:gd name="connsiteY14" fmla="*/ 1769659 h 6096646"/>
              <a:gd name="connsiteX15" fmla="*/ 6957336 w 6957336"/>
              <a:gd name="connsiteY15" fmla="*/ 2555362 h 6096646"/>
              <a:gd name="connsiteX16" fmla="*/ 6826894 w 6957336"/>
              <a:gd name="connsiteY16" fmla="*/ 3424566 h 6096646"/>
              <a:gd name="connsiteX17" fmla="*/ 6472005 w 6957336"/>
              <a:gd name="connsiteY17" fmla="*/ 3896614 h 6096646"/>
              <a:gd name="connsiteX18" fmla="*/ 5914508 w 6957336"/>
              <a:gd name="connsiteY18" fmla="*/ 4172760 h 6096646"/>
              <a:gd name="connsiteX19" fmla="*/ 5505441 w 6957336"/>
              <a:gd name="connsiteY19" fmla="*/ 4361761 h 6096646"/>
              <a:gd name="connsiteX20" fmla="*/ 5212843 w 6957336"/>
              <a:gd name="connsiteY20" fmla="*/ 4661818 h 6096646"/>
              <a:gd name="connsiteX21" fmla="*/ 5021600 w 6957336"/>
              <a:gd name="connsiteY21" fmla="*/ 5281891 h 6096646"/>
              <a:gd name="connsiteX22" fmla="*/ 4449123 w 6957336"/>
              <a:gd name="connsiteY22" fmla="*/ 5614694 h 6096646"/>
              <a:gd name="connsiteX23" fmla="*/ 4007681 w 6957336"/>
              <a:gd name="connsiteY23" fmla="*/ 5582521 h 6096646"/>
              <a:gd name="connsiteX24" fmla="*/ 3548339 w 6957336"/>
              <a:gd name="connsiteY24" fmla="*/ 5319795 h 6096646"/>
              <a:gd name="connsiteX25" fmla="*/ 2939451 w 6957336"/>
              <a:gd name="connsiteY25" fmla="*/ 5612742 h 6096646"/>
              <a:gd name="connsiteX26" fmla="*/ 2485508 w 6957336"/>
              <a:gd name="connsiteY26" fmla="*/ 5831573 h 6096646"/>
              <a:gd name="connsiteX27" fmla="*/ 1774900 w 6957336"/>
              <a:gd name="connsiteY27" fmla="*/ 6040766 h 6096646"/>
              <a:gd name="connsiteX28" fmla="*/ 1014263 w 6957336"/>
              <a:gd name="connsiteY28" fmla="*/ 6078411 h 6096646"/>
              <a:gd name="connsiteX29" fmla="*/ 212534 w 6957336"/>
              <a:gd name="connsiteY29" fmla="*/ 5725416 h 6096646"/>
              <a:gd name="connsiteX30" fmla="*/ 49186 w 6957336"/>
              <a:gd name="connsiteY30" fmla="*/ 4184868 h 6096646"/>
              <a:gd name="connsiteX0" fmla="*/ 49186 w 6957336"/>
              <a:gd name="connsiteY0" fmla="*/ 4184868 h 6096646"/>
              <a:gd name="connsiteX1" fmla="*/ 588915 w 6957336"/>
              <a:gd name="connsiteY1" fmla="*/ 2586365 h 6096646"/>
              <a:gd name="connsiteX2" fmla="*/ 820830 w 6957336"/>
              <a:gd name="connsiteY2" fmla="*/ 2308788 h 6096646"/>
              <a:gd name="connsiteX3" fmla="*/ 1105382 w 6957336"/>
              <a:gd name="connsiteY3" fmla="*/ 2137631 h 6096646"/>
              <a:gd name="connsiteX4" fmla="*/ 2375382 w 6957336"/>
              <a:gd name="connsiteY4" fmla="*/ 1782032 h 6096646"/>
              <a:gd name="connsiteX5" fmla="*/ 2714048 w 6957336"/>
              <a:gd name="connsiteY5" fmla="*/ 1485699 h 6096646"/>
              <a:gd name="connsiteX6" fmla="*/ 2747913 w 6957336"/>
              <a:gd name="connsiteY6" fmla="*/ 1147033 h 6096646"/>
              <a:gd name="connsiteX7" fmla="*/ 2693267 w 6957336"/>
              <a:gd name="connsiteY7" fmla="*/ 890946 h 6096646"/>
              <a:gd name="connsiteX8" fmla="*/ 2758520 w 6957336"/>
              <a:gd name="connsiteY8" fmla="*/ 44668 h 6096646"/>
              <a:gd name="connsiteX9" fmla="*/ 4737581 w 6957336"/>
              <a:gd name="connsiteY9" fmla="*/ 181833 h 6096646"/>
              <a:gd name="connsiteX10" fmla="*/ 5486556 w 6957336"/>
              <a:gd name="connsiteY10" fmla="*/ 740632 h 6096646"/>
              <a:gd name="connsiteX11" fmla="*/ 5672881 w 6957336"/>
              <a:gd name="connsiteY11" fmla="*/ 1271946 h 6096646"/>
              <a:gd name="connsiteX12" fmla="*/ 5820662 w 6957336"/>
              <a:gd name="connsiteY12" fmla="*/ 1477884 h 6096646"/>
              <a:gd name="connsiteX13" fmla="*/ 6519966 w 6957336"/>
              <a:gd name="connsiteY13" fmla="*/ 1525894 h 6096646"/>
              <a:gd name="connsiteX14" fmla="*/ 6858807 w 6957336"/>
              <a:gd name="connsiteY14" fmla="*/ 1769659 h 6096646"/>
              <a:gd name="connsiteX15" fmla="*/ 6957336 w 6957336"/>
              <a:gd name="connsiteY15" fmla="*/ 2555362 h 6096646"/>
              <a:gd name="connsiteX16" fmla="*/ 6826894 w 6957336"/>
              <a:gd name="connsiteY16" fmla="*/ 3424566 h 6096646"/>
              <a:gd name="connsiteX17" fmla="*/ 6472005 w 6957336"/>
              <a:gd name="connsiteY17" fmla="*/ 3896614 h 6096646"/>
              <a:gd name="connsiteX18" fmla="*/ 5914508 w 6957336"/>
              <a:gd name="connsiteY18" fmla="*/ 4172760 h 6096646"/>
              <a:gd name="connsiteX19" fmla="*/ 5505441 w 6957336"/>
              <a:gd name="connsiteY19" fmla="*/ 4361761 h 6096646"/>
              <a:gd name="connsiteX20" fmla="*/ 5212843 w 6957336"/>
              <a:gd name="connsiteY20" fmla="*/ 4661818 h 6096646"/>
              <a:gd name="connsiteX21" fmla="*/ 5021600 w 6957336"/>
              <a:gd name="connsiteY21" fmla="*/ 5281891 h 6096646"/>
              <a:gd name="connsiteX22" fmla="*/ 4449123 w 6957336"/>
              <a:gd name="connsiteY22" fmla="*/ 5614694 h 6096646"/>
              <a:gd name="connsiteX23" fmla="*/ 4007681 w 6957336"/>
              <a:gd name="connsiteY23" fmla="*/ 5582521 h 6096646"/>
              <a:gd name="connsiteX24" fmla="*/ 3548339 w 6957336"/>
              <a:gd name="connsiteY24" fmla="*/ 5319795 h 6096646"/>
              <a:gd name="connsiteX25" fmla="*/ 2939451 w 6957336"/>
              <a:gd name="connsiteY25" fmla="*/ 5612742 h 6096646"/>
              <a:gd name="connsiteX26" fmla="*/ 2485508 w 6957336"/>
              <a:gd name="connsiteY26" fmla="*/ 5831573 h 6096646"/>
              <a:gd name="connsiteX27" fmla="*/ 1774900 w 6957336"/>
              <a:gd name="connsiteY27" fmla="*/ 6040766 h 6096646"/>
              <a:gd name="connsiteX28" fmla="*/ 1014263 w 6957336"/>
              <a:gd name="connsiteY28" fmla="*/ 6078411 h 6096646"/>
              <a:gd name="connsiteX29" fmla="*/ 212534 w 6957336"/>
              <a:gd name="connsiteY29" fmla="*/ 5725416 h 6096646"/>
              <a:gd name="connsiteX30" fmla="*/ 49186 w 6957336"/>
              <a:gd name="connsiteY30" fmla="*/ 4184868 h 6096646"/>
              <a:gd name="connsiteX0" fmla="*/ 49186 w 6957336"/>
              <a:gd name="connsiteY0" fmla="*/ 4184868 h 6096646"/>
              <a:gd name="connsiteX1" fmla="*/ 588915 w 6957336"/>
              <a:gd name="connsiteY1" fmla="*/ 2586365 h 6096646"/>
              <a:gd name="connsiteX2" fmla="*/ 820830 w 6957336"/>
              <a:gd name="connsiteY2" fmla="*/ 2308788 h 6096646"/>
              <a:gd name="connsiteX3" fmla="*/ 1105382 w 6957336"/>
              <a:gd name="connsiteY3" fmla="*/ 2137631 h 6096646"/>
              <a:gd name="connsiteX4" fmla="*/ 2375382 w 6957336"/>
              <a:gd name="connsiteY4" fmla="*/ 1782032 h 6096646"/>
              <a:gd name="connsiteX5" fmla="*/ 2714048 w 6957336"/>
              <a:gd name="connsiteY5" fmla="*/ 1485699 h 6096646"/>
              <a:gd name="connsiteX6" fmla="*/ 2747913 w 6957336"/>
              <a:gd name="connsiteY6" fmla="*/ 1147033 h 6096646"/>
              <a:gd name="connsiteX7" fmla="*/ 2693267 w 6957336"/>
              <a:gd name="connsiteY7" fmla="*/ 890946 h 6096646"/>
              <a:gd name="connsiteX8" fmla="*/ 2758520 w 6957336"/>
              <a:gd name="connsiteY8" fmla="*/ 44668 h 6096646"/>
              <a:gd name="connsiteX9" fmla="*/ 4737581 w 6957336"/>
              <a:gd name="connsiteY9" fmla="*/ 181833 h 6096646"/>
              <a:gd name="connsiteX10" fmla="*/ 5486556 w 6957336"/>
              <a:gd name="connsiteY10" fmla="*/ 740632 h 6096646"/>
              <a:gd name="connsiteX11" fmla="*/ 5584958 w 6957336"/>
              <a:gd name="connsiteY11" fmla="*/ 1189885 h 6096646"/>
              <a:gd name="connsiteX12" fmla="*/ 5820662 w 6957336"/>
              <a:gd name="connsiteY12" fmla="*/ 1477884 h 6096646"/>
              <a:gd name="connsiteX13" fmla="*/ 6519966 w 6957336"/>
              <a:gd name="connsiteY13" fmla="*/ 1525894 h 6096646"/>
              <a:gd name="connsiteX14" fmla="*/ 6858807 w 6957336"/>
              <a:gd name="connsiteY14" fmla="*/ 1769659 h 6096646"/>
              <a:gd name="connsiteX15" fmla="*/ 6957336 w 6957336"/>
              <a:gd name="connsiteY15" fmla="*/ 2555362 h 6096646"/>
              <a:gd name="connsiteX16" fmla="*/ 6826894 w 6957336"/>
              <a:gd name="connsiteY16" fmla="*/ 3424566 h 6096646"/>
              <a:gd name="connsiteX17" fmla="*/ 6472005 w 6957336"/>
              <a:gd name="connsiteY17" fmla="*/ 3896614 h 6096646"/>
              <a:gd name="connsiteX18" fmla="*/ 5914508 w 6957336"/>
              <a:gd name="connsiteY18" fmla="*/ 4172760 h 6096646"/>
              <a:gd name="connsiteX19" fmla="*/ 5505441 w 6957336"/>
              <a:gd name="connsiteY19" fmla="*/ 4361761 h 6096646"/>
              <a:gd name="connsiteX20" fmla="*/ 5212843 w 6957336"/>
              <a:gd name="connsiteY20" fmla="*/ 4661818 h 6096646"/>
              <a:gd name="connsiteX21" fmla="*/ 5021600 w 6957336"/>
              <a:gd name="connsiteY21" fmla="*/ 5281891 h 6096646"/>
              <a:gd name="connsiteX22" fmla="*/ 4449123 w 6957336"/>
              <a:gd name="connsiteY22" fmla="*/ 5614694 h 6096646"/>
              <a:gd name="connsiteX23" fmla="*/ 4007681 w 6957336"/>
              <a:gd name="connsiteY23" fmla="*/ 5582521 h 6096646"/>
              <a:gd name="connsiteX24" fmla="*/ 3548339 w 6957336"/>
              <a:gd name="connsiteY24" fmla="*/ 5319795 h 6096646"/>
              <a:gd name="connsiteX25" fmla="*/ 2939451 w 6957336"/>
              <a:gd name="connsiteY25" fmla="*/ 5612742 h 6096646"/>
              <a:gd name="connsiteX26" fmla="*/ 2485508 w 6957336"/>
              <a:gd name="connsiteY26" fmla="*/ 5831573 h 6096646"/>
              <a:gd name="connsiteX27" fmla="*/ 1774900 w 6957336"/>
              <a:gd name="connsiteY27" fmla="*/ 6040766 h 6096646"/>
              <a:gd name="connsiteX28" fmla="*/ 1014263 w 6957336"/>
              <a:gd name="connsiteY28" fmla="*/ 6078411 h 6096646"/>
              <a:gd name="connsiteX29" fmla="*/ 212534 w 6957336"/>
              <a:gd name="connsiteY29" fmla="*/ 5725416 h 6096646"/>
              <a:gd name="connsiteX30" fmla="*/ 49186 w 6957336"/>
              <a:gd name="connsiteY30" fmla="*/ 4184868 h 6096646"/>
              <a:gd name="connsiteX0" fmla="*/ 49186 w 6957336"/>
              <a:gd name="connsiteY0" fmla="*/ 4184868 h 6096646"/>
              <a:gd name="connsiteX1" fmla="*/ 588915 w 6957336"/>
              <a:gd name="connsiteY1" fmla="*/ 2586365 h 6096646"/>
              <a:gd name="connsiteX2" fmla="*/ 820830 w 6957336"/>
              <a:gd name="connsiteY2" fmla="*/ 2308788 h 6096646"/>
              <a:gd name="connsiteX3" fmla="*/ 1105382 w 6957336"/>
              <a:gd name="connsiteY3" fmla="*/ 2137631 h 6096646"/>
              <a:gd name="connsiteX4" fmla="*/ 2375382 w 6957336"/>
              <a:gd name="connsiteY4" fmla="*/ 1782032 h 6096646"/>
              <a:gd name="connsiteX5" fmla="*/ 2714048 w 6957336"/>
              <a:gd name="connsiteY5" fmla="*/ 1485699 h 6096646"/>
              <a:gd name="connsiteX6" fmla="*/ 2747913 w 6957336"/>
              <a:gd name="connsiteY6" fmla="*/ 1147033 h 6096646"/>
              <a:gd name="connsiteX7" fmla="*/ 2693267 w 6957336"/>
              <a:gd name="connsiteY7" fmla="*/ 890946 h 6096646"/>
              <a:gd name="connsiteX8" fmla="*/ 2758520 w 6957336"/>
              <a:gd name="connsiteY8" fmla="*/ 44668 h 6096646"/>
              <a:gd name="connsiteX9" fmla="*/ 4737581 w 6957336"/>
              <a:gd name="connsiteY9" fmla="*/ 181833 h 6096646"/>
              <a:gd name="connsiteX10" fmla="*/ 5486556 w 6957336"/>
              <a:gd name="connsiteY10" fmla="*/ 740632 h 6096646"/>
              <a:gd name="connsiteX11" fmla="*/ 5620127 w 6957336"/>
              <a:gd name="connsiteY11" fmla="*/ 1160578 h 6096646"/>
              <a:gd name="connsiteX12" fmla="*/ 5820662 w 6957336"/>
              <a:gd name="connsiteY12" fmla="*/ 1477884 h 6096646"/>
              <a:gd name="connsiteX13" fmla="*/ 6519966 w 6957336"/>
              <a:gd name="connsiteY13" fmla="*/ 1525894 h 6096646"/>
              <a:gd name="connsiteX14" fmla="*/ 6858807 w 6957336"/>
              <a:gd name="connsiteY14" fmla="*/ 1769659 h 6096646"/>
              <a:gd name="connsiteX15" fmla="*/ 6957336 w 6957336"/>
              <a:gd name="connsiteY15" fmla="*/ 2555362 h 6096646"/>
              <a:gd name="connsiteX16" fmla="*/ 6826894 w 6957336"/>
              <a:gd name="connsiteY16" fmla="*/ 3424566 h 6096646"/>
              <a:gd name="connsiteX17" fmla="*/ 6472005 w 6957336"/>
              <a:gd name="connsiteY17" fmla="*/ 3896614 h 6096646"/>
              <a:gd name="connsiteX18" fmla="*/ 5914508 w 6957336"/>
              <a:gd name="connsiteY18" fmla="*/ 4172760 h 6096646"/>
              <a:gd name="connsiteX19" fmla="*/ 5505441 w 6957336"/>
              <a:gd name="connsiteY19" fmla="*/ 4361761 h 6096646"/>
              <a:gd name="connsiteX20" fmla="*/ 5212843 w 6957336"/>
              <a:gd name="connsiteY20" fmla="*/ 4661818 h 6096646"/>
              <a:gd name="connsiteX21" fmla="*/ 5021600 w 6957336"/>
              <a:gd name="connsiteY21" fmla="*/ 5281891 h 6096646"/>
              <a:gd name="connsiteX22" fmla="*/ 4449123 w 6957336"/>
              <a:gd name="connsiteY22" fmla="*/ 5614694 h 6096646"/>
              <a:gd name="connsiteX23" fmla="*/ 4007681 w 6957336"/>
              <a:gd name="connsiteY23" fmla="*/ 5582521 h 6096646"/>
              <a:gd name="connsiteX24" fmla="*/ 3548339 w 6957336"/>
              <a:gd name="connsiteY24" fmla="*/ 5319795 h 6096646"/>
              <a:gd name="connsiteX25" fmla="*/ 2939451 w 6957336"/>
              <a:gd name="connsiteY25" fmla="*/ 5612742 h 6096646"/>
              <a:gd name="connsiteX26" fmla="*/ 2485508 w 6957336"/>
              <a:gd name="connsiteY26" fmla="*/ 5831573 h 6096646"/>
              <a:gd name="connsiteX27" fmla="*/ 1774900 w 6957336"/>
              <a:gd name="connsiteY27" fmla="*/ 6040766 h 6096646"/>
              <a:gd name="connsiteX28" fmla="*/ 1014263 w 6957336"/>
              <a:gd name="connsiteY28" fmla="*/ 6078411 h 6096646"/>
              <a:gd name="connsiteX29" fmla="*/ 212534 w 6957336"/>
              <a:gd name="connsiteY29" fmla="*/ 5725416 h 6096646"/>
              <a:gd name="connsiteX30" fmla="*/ 49186 w 6957336"/>
              <a:gd name="connsiteY30" fmla="*/ 4184868 h 6096646"/>
              <a:gd name="connsiteX0" fmla="*/ 49186 w 6957336"/>
              <a:gd name="connsiteY0" fmla="*/ 4184868 h 6096646"/>
              <a:gd name="connsiteX1" fmla="*/ 588915 w 6957336"/>
              <a:gd name="connsiteY1" fmla="*/ 2586365 h 6096646"/>
              <a:gd name="connsiteX2" fmla="*/ 820830 w 6957336"/>
              <a:gd name="connsiteY2" fmla="*/ 2308788 h 6096646"/>
              <a:gd name="connsiteX3" fmla="*/ 1105382 w 6957336"/>
              <a:gd name="connsiteY3" fmla="*/ 2137631 h 6096646"/>
              <a:gd name="connsiteX4" fmla="*/ 2375382 w 6957336"/>
              <a:gd name="connsiteY4" fmla="*/ 1782032 h 6096646"/>
              <a:gd name="connsiteX5" fmla="*/ 2714048 w 6957336"/>
              <a:gd name="connsiteY5" fmla="*/ 1485699 h 6096646"/>
              <a:gd name="connsiteX6" fmla="*/ 2747913 w 6957336"/>
              <a:gd name="connsiteY6" fmla="*/ 1147033 h 6096646"/>
              <a:gd name="connsiteX7" fmla="*/ 2693267 w 6957336"/>
              <a:gd name="connsiteY7" fmla="*/ 890946 h 6096646"/>
              <a:gd name="connsiteX8" fmla="*/ 2758520 w 6957336"/>
              <a:gd name="connsiteY8" fmla="*/ 44668 h 6096646"/>
              <a:gd name="connsiteX9" fmla="*/ 4737581 w 6957336"/>
              <a:gd name="connsiteY9" fmla="*/ 181833 h 6096646"/>
              <a:gd name="connsiteX10" fmla="*/ 5486556 w 6957336"/>
              <a:gd name="connsiteY10" fmla="*/ 740632 h 6096646"/>
              <a:gd name="connsiteX11" fmla="*/ 5620127 w 6957336"/>
              <a:gd name="connsiteY11" fmla="*/ 1160578 h 6096646"/>
              <a:gd name="connsiteX12" fmla="*/ 5820662 w 6957336"/>
              <a:gd name="connsiteY12" fmla="*/ 1477884 h 6096646"/>
              <a:gd name="connsiteX13" fmla="*/ 6519966 w 6957336"/>
              <a:gd name="connsiteY13" fmla="*/ 1525894 h 6096646"/>
              <a:gd name="connsiteX14" fmla="*/ 6858807 w 6957336"/>
              <a:gd name="connsiteY14" fmla="*/ 1769659 h 6096646"/>
              <a:gd name="connsiteX15" fmla="*/ 6957336 w 6957336"/>
              <a:gd name="connsiteY15" fmla="*/ 2555362 h 6096646"/>
              <a:gd name="connsiteX16" fmla="*/ 6826894 w 6957336"/>
              <a:gd name="connsiteY16" fmla="*/ 3424566 h 6096646"/>
              <a:gd name="connsiteX17" fmla="*/ 6472005 w 6957336"/>
              <a:gd name="connsiteY17" fmla="*/ 3896614 h 6096646"/>
              <a:gd name="connsiteX18" fmla="*/ 5914508 w 6957336"/>
              <a:gd name="connsiteY18" fmla="*/ 4172760 h 6096646"/>
              <a:gd name="connsiteX19" fmla="*/ 5505441 w 6957336"/>
              <a:gd name="connsiteY19" fmla="*/ 4361761 h 6096646"/>
              <a:gd name="connsiteX20" fmla="*/ 5212843 w 6957336"/>
              <a:gd name="connsiteY20" fmla="*/ 4661818 h 6096646"/>
              <a:gd name="connsiteX21" fmla="*/ 5021600 w 6957336"/>
              <a:gd name="connsiteY21" fmla="*/ 5281891 h 6096646"/>
              <a:gd name="connsiteX22" fmla="*/ 4449123 w 6957336"/>
              <a:gd name="connsiteY22" fmla="*/ 5614694 h 6096646"/>
              <a:gd name="connsiteX23" fmla="*/ 4007681 w 6957336"/>
              <a:gd name="connsiteY23" fmla="*/ 5582521 h 6096646"/>
              <a:gd name="connsiteX24" fmla="*/ 3548339 w 6957336"/>
              <a:gd name="connsiteY24" fmla="*/ 5319795 h 6096646"/>
              <a:gd name="connsiteX25" fmla="*/ 2939451 w 6957336"/>
              <a:gd name="connsiteY25" fmla="*/ 5612742 h 6096646"/>
              <a:gd name="connsiteX26" fmla="*/ 2485508 w 6957336"/>
              <a:gd name="connsiteY26" fmla="*/ 5831573 h 6096646"/>
              <a:gd name="connsiteX27" fmla="*/ 1774900 w 6957336"/>
              <a:gd name="connsiteY27" fmla="*/ 6040766 h 6096646"/>
              <a:gd name="connsiteX28" fmla="*/ 1014263 w 6957336"/>
              <a:gd name="connsiteY28" fmla="*/ 6078411 h 6096646"/>
              <a:gd name="connsiteX29" fmla="*/ 212534 w 6957336"/>
              <a:gd name="connsiteY29" fmla="*/ 5725416 h 6096646"/>
              <a:gd name="connsiteX30" fmla="*/ 49186 w 6957336"/>
              <a:gd name="connsiteY30" fmla="*/ 4184868 h 6096646"/>
              <a:gd name="connsiteX0" fmla="*/ 49186 w 6957336"/>
              <a:gd name="connsiteY0" fmla="*/ 4184868 h 6096646"/>
              <a:gd name="connsiteX1" fmla="*/ 588915 w 6957336"/>
              <a:gd name="connsiteY1" fmla="*/ 2586365 h 6096646"/>
              <a:gd name="connsiteX2" fmla="*/ 820830 w 6957336"/>
              <a:gd name="connsiteY2" fmla="*/ 2308788 h 6096646"/>
              <a:gd name="connsiteX3" fmla="*/ 1105382 w 6957336"/>
              <a:gd name="connsiteY3" fmla="*/ 2137631 h 6096646"/>
              <a:gd name="connsiteX4" fmla="*/ 2375382 w 6957336"/>
              <a:gd name="connsiteY4" fmla="*/ 1782032 h 6096646"/>
              <a:gd name="connsiteX5" fmla="*/ 2714048 w 6957336"/>
              <a:gd name="connsiteY5" fmla="*/ 1485699 h 6096646"/>
              <a:gd name="connsiteX6" fmla="*/ 2747913 w 6957336"/>
              <a:gd name="connsiteY6" fmla="*/ 1147033 h 6096646"/>
              <a:gd name="connsiteX7" fmla="*/ 2693267 w 6957336"/>
              <a:gd name="connsiteY7" fmla="*/ 890946 h 6096646"/>
              <a:gd name="connsiteX8" fmla="*/ 2758520 w 6957336"/>
              <a:gd name="connsiteY8" fmla="*/ 44668 h 6096646"/>
              <a:gd name="connsiteX9" fmla="*/ 4737581 w 6957336"/>
              <a:gd name="connsiteY9" fmla="*/ 181833 h 6096646"/>
              <a:gd name="connsiteX10" fmla="*/ 5486556 w 6957336"/>
              <a:gd name="connsiteY10" fmla="*/ 740632 h 6096646"/>
              <a:gd name="connsiteX11" fmla="*/ 5620127 w 6957336"/>
              <a:gd name="connsiteY11" fmla="*/ 1160578 h 6096646"/>
              <a:gd name="connsiteX12" fmla="*/ 5820662 w 6957336"/>
              <a:gd name="connsiteY12" fmla="*/ 1477884 h 6096646"/>
              <a:gd name="connsiteX13" fmla="*/ 6519966 w 6957336"/>
              <a:gd name="connsiteY13" fmla="*/ 1525894 h 6096646"/>
              <a:gd name="connsiteX14" fmla="*/ 6858807 w 6957336"/>
              <a:gd name="connsiteY14" fmla="*/ 1769659 h 6096646"/>
              <a:gd name="connsiteX15" fmla="*/ 6957336 w 6957336"/>
              <a:gd name="connsiteY15" fmla="*/ 2555362 h 6096646"/>
              <a:gd name="connsiteX16" fmla="*/ 6826894 w 6957336"/>
              <a:gd name="connsiteY16" fmla="*/ 3424566 h 6096646"/>
              <a:gd name="connsiteX17" fmla="*/ 6472005 w 6957336"/>
              <a:gd name="connsiteY17" fmla="*/ 3896614 h 6096646"/>
              <a:gd name="connsiteX18" fmla="*/ 5914508 w 6957336"/>
              <a:gd name="connsiteY18" fmla="*/ 4172760 h 6096646"/>
              <a:gd name="connsiteX19" fmla="*/ 5505441 w 6957336"/>
              <a:gd name="connsiteY19" fmla="*/ 4361761 h 6096646"/>
              <a:gd name="connsiteX20" fmla="*/ 5212843 w 6957336"/>
              <a:gd name="connsiteY20" fmla="*/ 4661818 h 6096646"/>
              <a:gd name="connsiteX21" fmla="*/ 5021600 w 6957336"/>
              <a:gd name="connsiteY21" fmla="*/ 5281891 h 6096646"/>
              <a:gd name="connsiteX22" fmla="*/ 4449123 w 6957336"/>
              <a:gd name="connsiteY22" fmla="*/ 5614694 h 6096646"/>
              <a:gd name="connsiteX23" fmla="*/ 4007681 w 6957336"/>
              <a:gd name="connsiteY23" fmla="*/ 5582521 h 6096646"/>
              <a:gd name="connsiteX24" fmla="*/ 3548339 w 6957336"/>
              <a:gd name="connsiteY24" fmla="*/ 5319795 h 6096646"/>
              <a:gd name="connsiteX25" fmla="*/ 2939451 w 6957336"/>
              <a:gd name="connsiteY25" fmla="*/ 5612742 h 6096646"/>
              <a:gd name="connsiteX26" fmla="*/ 2485508 w 6957336"/>
              <a:gd name="connsiteY26" fmla="*/ 5831573 h 6096646"/>
              <a:gd name="connsiteX27" fmla="*/ 1774900 w 6957336"/>
              <a:gd name="connsiteY27" fmla="*/ 6040766 h 6096646"/>
              <a:gd name="connsiteX28" fmla="*/ 1014263 w 6957336"/>
              <a:gd name="connsiteY28" fmla="*/ 6078411 h 6096646"/>
              <a:gd name="connsiteX29" fmla="*/ 212534 w 6957336"/>
              <a:gd name="connsiteY29" fmla="*/ 5725416 h 6096646"/>
              <a:gd name="connsiteX30" fmla="*/ 49186 w 6957336"/>
              <a:gd name="connsiteY30" fmla="*/ 4184868 h 6096646"/>
              <a:gd name="connsiteX0" fmla="*/ 49186 w 6957336"/>
              <a:gd name="connsiteY0" fmla="*/ 4184868 h 6096646"/>
              <a:gd name="connsiteX1" fmla="*/ 588915 w 6957336"/>
              <a:gd name="connsiteY1" fmla="*/ 2586365 h 6096646"/>
              <a:gd name="connsiteX2" fmla="*/ 820830 w 6957336"/>
              <a:gd name="connsiteY2" fmla="*/ 2308788 h 6096646"/>
              <a:gd name="connsiteX3" fmla="*/ 1105382 w 6957336"/>
              <a:gd name="connsiteY3" fmla="*/ 2137631 h 6096646"/>
              <a:gd name="connsiteX4" fmla="*/ 2375382 w 6957336"/>
              <a:gd name="connsiteY4" fmla="*/ 1782032 h 6096646"/>
              <a:gd name="connsiteX5" fmla="*/ 2714048 w 6957336"/>
              <a:gd name="connsiteY5" fmla="*/ 1485699 h 6096646"/>
              <a:gd name="connsiteX6" fmla="*/ 2747913 w 6957336"/>
              <a:gd name="connsiteY6" fmla="*/ 1147033 h 6096646"/>
              <a:gd name="connsiteX7" fmla="*/ 2693267 w 6957336"/>
              <a:gd name="connsiteY7" fmla="*/ 890946 h 6096646"/>
              <a:gd name="connsiteX8" fmla="*/ 2758520 w 6957336"/>
              <a:gd name="connsiteY8" fmla="*/ 44668 h 6096646"/>
              <a:gd name="connsiteX9" fmla="*/ 4737581 w 6957336"/>
              <a:gd name="connsiteY9" fmla="*/ 181833 h 6096646"/>
              <a:gd name="connsiteX10" fmla="*/ 5486556 w 6957336"/>
              <a:gd name="connsiteY10" fmla="*/ 740632 h 6096646"/>
              <a:gd name="connsiteX11" fmla="*/ 5620127 w 6957336"/>
              <a:gd name="connsiteY11" fmla="*/ 1160578 h 6096646"/>
              <a:gd name="connsiteX12" fmla="*/ 5820662 w 6957336"/>
              <a:gd name="connsiteY12" fmla="*/ 1477884 h 6096646"/>
              <a:gd name="connsiteX13" fmla="*/ 6519966 w 6957336"/>
              <a:gd name="connsiteY13" fmla="*/ 1525894 h 6096646"/>
              <a:gd name="connsiteX14" fmla="*/ 6858807 w 6957336"/>
              <a:gd name="connsiteY14" fmla="*/ 1769659 h 6096646"/>
              <a:gd name="connsiteX15" fmla="*/ 6957336 w 6957336"/>
              <a:gd name="connsiteY15" fmla="*/ 2555362 h 6096646"/>
              <a:gd name="connsiteX16" fmla="*/ 6826894 w 6957336"/>
              <a:gd name="connsiteY16" fmla="*/ 3424566 h 6096646"/>
              <a:gd name="connsiteX17" fmla="*/ 6472005 w 6957336"/>
              <a:gd name="connsiteY17" fmla="*/ 3896614 h 6096646"/>
              <a:gd name="connsiteX18" fmla="*/ 5914508 w 6957336"/>
              <a:gd name="connsiteY18" fmla="*/ 4172760 h 6096646"/>
              <a:gd name="connsiteX19" fmla="*/ 5505441 w 6957336"/>
              <a:gd name="connsiteY19" fmla="*/ 4361761 h 6096646"/>
              <a:gd name="connsiteX20" fmla="*/ 5212843 w 6957336"/>
              <a:gd name="connsiteY20" fmla="*/ 4661818 h 6096646"/>
              <a:gd name="connsiteX21" fmla="*/ 5021600 w 6957336"/>
              <a:gd name="connsiteY21" fmla="*/ 5281891 h 6096646"/>
              <a:gd name="connsiteX22" fmla="*/ 4449123 w 6957336"/>
              <a:gd name="connsiteY22" fmla="*/ 5614694 h 6096646"/>
              <a:gd name="connsiteX23" fmla="*/ 4007681 w 6957336"/>
              <a:gd name="connsiteY23" fmla="*/ 5582521 h 6096646"/>
              <a:gd name="connsiteX24" fmla="*/ 3548339 w 6957336"/>
              <a:gd name="connsiteY24" fmla="*/ 5319795 h 6096646"/>
              <a:gd name="connsiteX25" fmla="*/ 2939451 w 6957336"/>
              <a:gd name="connsiteY25" fmla="*/ 5612742 h 6096646"/>
              <a:gd name="connsiteX26" fmla="*/ 2485508 w 6957336"/>
              <a:gd name="connsiteY26" fmla="*/ 5831573 h 6096646"/>
              <a:gd name="connsiteX27" fmla="*/ 1774900 w 6957336"/>
              <a:gd name="connsiteY27" fmla="*/ 6040766 h 6096646"/>
              <a:gd name="connsiteX28" fmla="*/ 1014263 w 6957336"/>
              <a:gd name="connsiteY28" fmla="*/ 6078411 h 6096646"/>
              <a:gd name="connsiteX29" fmla="*/ 212534 w 6957336"/>
              <a:gd name="connsiteY29" fmla="*/ 5725416 h 6096646"/>
              <a:gd name="connsiteX30" fmla="*/ 49186 w 6957336"/>
              <a:gd name="connsiteY30" fmla="*/ 4184868 h 6096646"/>
              <a:gd name="connsiteX0" fmla="*/ 49186 w 6957336"/>
              <a:gd name="connsiteY0" fmla="*/ 4184868 h 6096646"/>
              <a:gd name="connsiteX1" fmla="*/ 588915 w 6957336"/>
              <a:gd name="connsiteY1" fmla="*/ 2586365 h 6096646"/>
              <a:gd name="connsiteX2" fmla="*/ 820830 w 6957336"/>
              <a:gd name="connsiteY2" fmla="*/ 2308788 h 6096646"/>
              <a:gd name="connsiteX3" fmla="*/ 1105382 w 6957336"/>
              <a:gd name="connsiteY3" fmla="*/ 2137631 h 6096646"/>
              <a:gd name="connsiteX4" fmla="*/ 2375382 w 6957336"/>
              <a:gd name="connsiteY4" fmla="*/ 1782032 h 6096646"/>
              <a:gd name="connsiteX5" fmla="*/ 2714048 w 6957336"/>
              <a:gd name="connsiteY5" fmla="*/ 1485699 h 6096646"/>
              <a:gd name="connsiteX6" fmla="*/ 2747913 w 6957336"/>
              <a:gd name="connsiteY6" fmla="*/ 1147033 h 6096646"/>
              <a:gd name="connsiteX7" fmla="*/ 2693267 w 6957336"/>
              <a:gd name="connsiteY7" fmla="*/ 890946 h 6096646"/>
              <a:gd name="connsiteX8" fmla="*/ 2758520 w 6957336"/>
              <a:gd name="connsiteY8" fmla="*/ 44668 h 6096646"/>
              <a:gd name="connsiteX9" fmla="*/ 4737581 w 6957336"/>
              <a:gd name="connsiteY9" fmla="*/ 181833 h 6096646"/>
              <a:gd name="connsiteX10" fmla="*/ 5310709 w 6957336"/>
              <a:gd name="connsiteY10" fmla="*/ 898894 h 6096646"/>
              <a:gd name="connsiteX11" fmla="*/ 5620127 w 6957336"/>
              <a:gd name="connsiteY11" fmla="*/ 1160578 h 6096646"/>
              <a:gd name="connsiteX12" fmla="*/ 5820662 w 6957336"/>
              <a:gd name="connsiteY12" fmla="*/ 1477884 h 6096646"/>
              <a:gd name="connsiteX13" fmla="*/ 6519966 w 6957336"/>
              <a:gd name="connsiteY13" fmla="*/ 1525894 h 6096646"/>
              <a:gd name="connsiteX14" fmla="*/ 6858807 w 6957336"/>
              <a:gd name="connsiteY14" fmla="*/ 1769659 h 6096646"/>
              <a:gd name="connsiteX15" fmla="*/ 6957336 w 6957336"/>
              <a:gd name="connsiteY15" fmla="*/ 2555362 h 6096646"/>
              <a:gd name="connsiteX16" fmla="*/ 6826894 w 6957336"/>
              <a:gd name="connsiteY16" fmla="*/ 3424566 h 6096646"/>
              <a:gd name="connsiteX17" fmla="*/ 6472005 w 6957336"/>
              <a:gd name="connsiteY17" fmla="*/ 3896614 h 6096646"/>
              <a:gd name="connsiteX18" fmla="*/ 5914508 w 6957336"/>
              <a:gd name="connsiteY18" fmla="*/ 4172760 h 6096646"/>
              <a:gd name="connsiteX19" fmla="*/ 5505441 w 6957336"/>
              <a:gd name="connsiteY19" fmla="*/ 4361761 h 6096646"/>
              <a:gd name="connsiteX20" fmla="*/ 5212843 w 6957336"/>
              <a:gd name="connsiteY20" fmla="*/ 4661818 h 6096646"/>
              <a:gd name="connsiteX21" fmla="*/ 5021600 w 6957336"/>
              <a:gd name="connsiteY21" fmla="*/ 5281891 h 6096646"/>
              <a:gd name="connsiteX22" fmla="*/ 4449123 w 6957336"/>
              <a:gd name="connsiteY22" fmla="*/ 5614694 h 6096646"/>
              <a:gd name="connsiteX23" fmla="*/ 4007681 w 6957336"/>
              <a:gd name="connsiteY23" fmla="*/ 5582521 h 6096646"/>
              <a:gd name="connsiteX24" fmla="*/ 3548339 w 6957336"/>
              <a:gd name="connsiteY24" fmla="*/ 5319795 h 6096646"/>
              <a:gd name="connsiteX25" fmla="*/ 2939451 w 6957336"/>
              <a:gd name="connsiteY25" fmla="*/ 5612742 h 6096646"/>
              <a:gd name="connsiteX26" fmla="*/ 2485508 w 6957336"/>
              <a:gd name="connsiteY26" fmla="*/ 5831573 h 6096646"/>
              <a:gd name="connsiteX27" fmla="*/ 1774900 w 6957336"/>
              <a:gd name="connsiteY27" fmla="*/ 6040766 h 6096646"/>
              <a:gd name="connsiteX28" fmla="*/ 1014263 w 6957336"/>
              <a:gd name="connsiteY28" fmla="*/ 6078411 h 6096646"/>
              <a:gd name="connsiteX29" fmla="*/ 212534 w 6957336"/>
              <a:gd name="connsiteY29" fmla="*/ 5725416 h 6096646"/>
              <a:gd name="connsiteX30" fmla="*/ 49186 w 6957336"/>
              <a:gd name="connsiteY30" fmla="*/ 4184868 h 6096646"/>
              <a:gd name="connsiteX0" fmla="*/ 49186 w 6957336"/>
              <a:gd name="connsiteY0" fmla="*/ 4184868 h 6096646"/>
              <a:gd name="connsiteX1" fmla="*/ 588915 w 6957336"/>
              <a:gd name="connsiteY1" fmla="*/ 2586365 h 6096646"/>
              <a:gd name="connsiteX2" fmla="*/ 820830 w 6957336"/>
              <a:gd name="connsiteY2" fmla="*/ 2308788 h 6096646"/>
              <a:gd name="connsiteX3" fmla="*/ 1105382 w 6957336"/>
              <a:gd name="connsiteY3" fmla="*/ 2137631 h 6096646"/>
              <a:gd name="connsiteX4" fmla="*/ 2375382 w 6957336"/>
              <a:gd name="connsiteY4" fmla="*/ 1782032 h 6096646"/>
              <a:gd name="connsiteX5" fmla="*/ 2714048 w 6957336"/>
              <a:gd name="connsiteY5" fmla="*/ 1485699 h 6096646"/>
              <a:gd name="connsiteX6" fmla="*/ 2747913 w 6957336"/>
              <a:gd name="connsiteY6" fmla="*/ 1147033 h 6096646"/>
              <a:gd name="connsiteX7" fmla="*/ 2693267 w 6957336"/>
              <a:gd name="connsiteY7" fmla="*/ 890946 h 6096646"/>
              <a:gd name="connsiteX8" fmla="*/ 2758520 w 6957336"/>
              <a:gd name="connsiteY8" fmla="*/ 44668 h 6096646"/>
              <a:gd name="connsiteX9" fmla="*/ 4737581 w 6957336"/>
              <a:gd name="connsiteY9" fmla="*/ 181833 h 6096646"/>
              <a:gd name="connsiteX10" fmla="*/ 5457247 w 6957336"/>
              <a:gd name="connsiteY10" fmla="*/ 699602 h 6096646"/>
              <a:gd name="connsiteX11" fmla="*/ 5620127 w 6957336"/>
              <a:gd name="connsiteY11" fmla="*/ 1160578 h 6096646"/>
              <a:gd name="connsiteX12" fmla="*/ 5820662 w 6957336"/>
              <a:gd name="connsiteY12" fmla="*/ 1477884 h 6096646"/>
              <a:gd name="connsiteX13" fmla="*/ 6519966 w 6957336"/>
              <a:gd name="connsiteY13" fmla="*/ 1525894 h 6096646"/>
              <a:gd name="connsiteX14" fmla="*/ 6858807 w 6957336"/>
              <a:gd name="connsiteY14" fmla="*/ 1769659 h 6096646"/>
              <a:gd name="connsiteX15" fmla="*/ 6957336 w 6957336"/>
              <a:gd name="connsiteY15" fmla="*/ 2555362 h 6096646"/>
              <a:gd name="connsiteX16" fmla="*/ 6826894 w 6957336"/>
              <a:gd name="connsiteY16" fmla="*/ 3424566 h 6096646"/>
              <a:gd name="connsiteX17" fmla="*/ 6472005 w 6957336"/>
              <a:gd name="connsiteY17" fmla="*/ 3896614 h 6096646"/>
              <a:gd name="connsiteX18" fmla="*/ 5914508 w 6957336"/>
              <a:gd name="connsiteY18" fmla="*/ 4172760 h 6096646"/>
              <a:gd name="connsiteX19" fmla="*/ 5505441 w 6957336"/>
              <a:gd name="connsiteY19" fmla="*/ 4361761 h 6096646"/>
              <a:gd name="connsiteX20" fmla="*/ 5212843 w 6957336"/>
              <a:gd name="connsiteY20" fmla="*/ 4661818 h 6096646"/>
              <a:gd name="connsiteX21" fmla="*/ 5021600 w 6957336"/>
              <a:gd name="connsiteY21" fmla="*/ 5281891 h 6096646"/>
              <a:gd name="connsiteX22" fmla="*/ 4449123 w 6957336"/>
              <a:gd name="connsiteY22" fmla="*/ 5614694 h 6096646"/>
              <a:gd name="connsiteX23" fmla="*/ 4007681 w 6957336"/>
              <a:gd name="connsiteY23" fmla="*/ 5582521 h 6096646"/>
              <a:gd name="connsiteX24" fmla="*/ 3548339 w 6957336"/>
              <a:gd name="connsiteY24" fmla="*/ 5319795 h 6096646"/>
              <a:gd name="connsiteX25" fmla="*/ 2939451 w 6957336"/>
              <a:gd name="connsiteY25" fmla="*/ 5612742 h 6096646"/>
              <a:gd name="connsiteX26" fmla="*/ 2485508 w 6957336"/>
              <a:gd name="connsiteY26" fmla="*/ 5831573 h 6096646"/>
              <a:gd name="connsiteX27" fmla="*/ 1774900 w 6957336"/>
              <a:gd name="connsiteY27" fmla="*/ 6040766 h 6096646"/>
              <a:gd name="connsiteX28" fmla="*/ 1014263 w 6957336"/>
              <a:gd name="connsiteY28" fmla="*/ 6078411 h 6096646"/>
              <a:gd name="connsiteX29" fmla="*/ 212534 w 6957336"/>
              <a:gd name="connsiteY29" fmla="*/ 5725416 h 6096646"/>
              <a:gd name="connsiteX30" fmla="*/ 49186 w 6957336"/>
              <a:gd name="connsiteY30" fmla="*/ 4184868 h 6096646"/>
              <a:gd name="connsiteX0" fmla="*/ 49186 w 6957336"/>
              <a:gd name="connsiteY0" fmla="*/ 4140200 h 6051978"/>
              <a:gd name="connsiteX1" fmla="*/ 588915 w 6957336"/>
              <a:gd name="connsiteY1" fmla="*/ 2541697 h 6051978"/>
              <a:gd name="connsiteX2" fmla="*/ 820830 w 6957336"/>
              <a:gd name="connsiteY2" fmla="*/ 2264120 h 6051978"/>
              <a:gd name="connsiteX3" fmla="*/ 1105382 w 6957336"/>
              <a:gd name="connsiteY3" fmla="*/ 2092963 h 6051978"/>
              <a:gd name="connsiteX4" fmla="*/ 2375382 w 6957336"/>
              <a:gd name="connsiteY4" fmla="*/ 1737364 h 6051978"/>
              <a:gd name="connsiteX5" fmla="*/ 2714048 w 6957336"/>
              <a:gd name="connsiteY5" fmla="*/ 1441031 h 6051978"/>
              <a:gd name="connsiteX6" fmla="*/ 2747913 w 6957336"/>
              <a:gd name="connsiteY6" fmla="*/ 1102365 h 6051978"/>
              <a:gd name="connsiteX7" fmla="*/ 2693267 w 6957336"/>
              <a:gd name="connsiteY7" fmla="*/ 846278 h 6051978"/>
              <a:gd name="connsiteX8" fmla="*/ 2758520 w 6957336"/>
              <a:gd name="connsiteY8" fmla="*/ 0 h 6051978"/>
              <a:gd name="connsiteX9" fmla="*/ 4825504 w 6957336"/>
              <a:gd name="connsiteY9" fmla="*/ 412658 h 6051978"/>
              <a:gd name="connsiteX10" fmla="*/ 5457247 w 6957336"/>
              <a:gd name="connsiteY10" fmla="*/ 654934 h 6051978"/>
              <a:gd name="connsiteX11" fmla="*/ 5620127 w 6957336"/>
              <a:gd name="connsiteY11" fmla="*/ 1115910 h 6051978"/>
              <a:gd name="connsiteX12" fmla="*/ 5820662 w 6957336"/>
              <a:gd name="connsiteY12" fmla="*/ 1433216 h 6051978"/>
              <a:gd name="connsiteX13" fmla="*/ 6519966 w 6957336"/>
              <a:gd name="connsiteY13" fmla="*/ 1481226 h 6051978"/>
              <a:gd name="connsiteX14" fmla="*/ 6858807 w 6957336"/>
              <a:gd name="connsiteY14" fmla="*/ 1724991 h 6051978"/>
              <a:gd name="connsiteX15" fmla="*/ 6957336 w 6957336"/>
              <a:gd name="connsiteY15" fmla="*/ 2510694 h 6051978"/>
              <a:gd name="connsiteX16" fmla="*/ 6826894 w 6957336"/>
              <a:gd name="connsiteY16" fmla="*/ 3379898 h 6051978"/>
              <a:gd name="connsiteX17" fmla="*/ 6472005 w 6957336"/>
              <a:gd name="connsiteY17" fmla="*/ 3851946 h 6051978"/>
              <a:gd name="connsiteX18" fmla="*/ 5914508 w 6957336"/>
              <a:gd name="connsiteY18" fmla="*/ 4128092 h 6051978"/>
              <a:gd name="connsiteX19" fmla="*/ 5505441 w 6957336"/>
              <a:gd name="connsiteY19" fmla="*/ 4317093 h 6051978"/>
              <a:gd name="connsiteX20" fmla="*/ 5212843 w 6957336"/>
              <a:gd name="connsiteY20" fmla="*/ 4617150 h 6051978"/>
              <a:gd name="connsiteX21" fmla="*/ 5021600 w 6957336"/>
              <a:gd name="connsiteY21" fmla="*/ 5237223 h 6051978"/>
              <a:gd name="connsiteX22" fmla="*/ 4449123 w 6957336"/>
              <a:gd name="connsiteY22" fmla="*/ 5570026 h 6051978"/>
              <a:gd name="connsiteX23" fmla="*/ 4007681 w 6957336"/>
              <a:gd name="connsiteY23" fmla="*/ 5537853 h 6051978"/>
              <a:gd name="connsiteX24" fmla="*/ 3548339 w 6957336"/>
              <a:gd name="connsiteY24" fmla="*/ 5275127 h 6051978"/>
              <a:gd name="connsiteX25" fmla="*/ 2939451 w 6957336"/>
              <a:gd name="connsiteY25" fmla="*/ 5568074 h 6051978"/>
              <a:gd name="connsiteX26" fmla="*/ 2485508 w 6957336"/>
              <a:gd name="connsiteY26" fmla="*/ 5786905 h 6051978"/>
              <a:gd name="connsiteX27" fmla="*/ 1774900 w 6957336"/>
              <a:gd name="connsiteY27" fmla="*/ 5996098 h 6051978"/>
              <a:gd name="connsiteX28" fmla="*/ 1014263 w 6957336"/>
              <a:gd name="connsiteY28" fmla="*/ 6033743 h 6051978"/>
              <a:gd name="connsiteX29" fmla="*/ 212534 w 6957336"/>
              <a:gd name="connsiteY29" fmla="*/ 5680748 h 6051978"/>
              <a:gd name="connsiteX30" fmla="*/ 49186 w 6957336"/>
              <a:gd name="connsiteY30" fmla="*/ 4140200 h 6051978"/>
              <a:gd name="connsiteX0" fmla="*/ 49186 w 6957336"/>
              <a:gd name="connsiteY0" fmla="*/ 4171728 h 6083506"/>
              <a:gd name="connsiteX1" fmla="*/ 588915 w 6957336"/>
              <a:gd name="connsiteY1" fmla="*/ 2573225 h 6083506"/>
              <a:gd name="connsiteX2" fmla="*/ 820830 w 6957336"/>
              <a:gd name="connsiteY2" fmla="*/ 2295648 h 6083506"/>
              <a:gd name="connsiteX3" fmla="*/ 1105382 w 6957336"/>
              <a:gd name="connsiteY3" fmla="*/ 2124491 h 6083506"/>
              <a:gd name="connsiteX4" fmla="*/ 2375382 w 6957336"/>
              <a:gd name="connsiteY4" fmla="*/ 1768892 h 6083506"/>
              <a:gd name="connsiteX5" fmla="*/ 2714048 w 6957336"/>
              <a:gd name="connsiteY5" fmla="*/ 1472559 h 6083506"/>
              <a:gd name="connsiteX6" fmla="*/ 2747913 w 6957336"/>
              <a:gd name="connsiteY6" fmla="*/ 1133893 h 6083506"/>
              <a:gd name="connsiteX7" fmla="*/ 2693267 w 6957336"/>
              <a:gd name="connsiteY7" fmla="*/ 877806 h 6083506"/>
              <a:gd name="connsiteX8" fmla="*/ 2758520 w 6957336"/>
              <a:gd name="connsiteY8" fmla="*/ 31528 h 6083506"/>
              <a:gd name="connsiteX9" fmla="*/ 4790335 w 6957336"/>
              <a:gd name="connsiteY9" fmla="*/ 198001 h 6083506"/>
              <a:gd name="connsiteX10" fmla="*/ 5457247 w 6957336"/>
              <a:gd name="connsiteY10" fmla="*/ 686462 h 6083506"/>
              <a:gd name="connsiteX11" fmla="*/ 5620127 w 6957336"/>
              <a:gd name="connsiteY11" fmla="*/ 1147438 h 6083506"/>
              <a:gd name="connsiteX12" fmla="*/ 5820662 w 6957336"/>
              <a:gd name="connsiteY12" fmla="*/ 1464744 h 6083506"/>
              <a:gd name="connsiteX13" fmla="*/ 6519966 w 6957336"/>
              <a:gd name="connsiteY13" fmla="*/ 1512754 h 6083506"/>
              <a:gd name="connsiteX14" fmla="*/ 6858807 w 6957336"/>
              <a:gd name="connsiteY14" fmla="*/ 1756519 h 6083506"/>
              <a:gd name="connsiteX15" fmla="*/ 6957336 w 6957336"/>
              <a:gd name="connsiteY15" fmla="*/ 2542222 h 6083506"/>
              <a:gd name="connsiteX16" fmla="*/ 6826894 w 6957336"/>
              <a:gd name="connsiteY16" fmla="*/ 3411426 h 6083506"/>
              <a:gd name="connsiteX17" fmla="*/ 6472005 w 6957336"/>
              <a:gd name="connsiteY17" fmla="*/ 3883474 h 6083506"/>
              <a:gd name="connsiteX18" fmla="*/ 5914508 w 6957336"/>
              <a:gd name="connsiteY18" fmla="*/ 4159620 h 6083506"/>
              <a:gd name="connsiteX19" fmla="*/ 5505441 w 6957336"/>
              <a:gd name="connsiteY19" fmla="*/ 4348621 h 6083506"/>
              <a:gd name="connsiteX20" fmla="*/ 5212843 w 6957336"/>
              <a:gd name="connsiteY20" fmla="*/ 4648678 h 6083506"/>
              <a:gd name="connsiteX21" fmla="*/ 5021600 w 6957336"/>
              <a:gd name="connsiteY21" fmla="*/ 5268751 h 6083506"/>
              <a:gd name="connsiteX22" fmla="*/ 4449123 w 6957336"/>
              <a:gd name="connsiteY22" fmla="*/ 5601554 h 6083506"/>
              <a:gd name="connsiteX23" fmla="*/ 4007681 w 6957336"/>
              <a:gd name="connsiteY23" fmla="*/ 5569381 h 6083506"/>
              <a:gd name="connsiteX24" fmla="*/ 3548339 w 6957336"/>
              <a:gd name="connsiteY24" fmla="*/ 5306655 h 6083506"/>
              <a:gd name="connsiteX25" fmla="*/ 2939451 w 6957336"/>
              <a:gd name="connsiteY25" fmla="*/ 5599602 h 6083506"/>
              <a:gd name="connsiteX26" fmla="*/ 2485508 w 6957336"/>
              <a:gd name="connsiteY26" fmla="*/ 5818433 h 6083506"/>
              <a:gd name="connsiteX27" fmla="*/ 1774900 w 6957336"/>
              <a:gd name="connsiteY27" fmla="*/ 6027626 h 6083506"/>
              <a:gd name="connsiteX28" fmla="*/ 1014263 w 6957336"/>
              <a:gd name="connsiteY28" fmla="*/ 6065271 h 6083506"/>
              <a:gd name="connsiteX29" fmla="*/ 212534 w 6957336"/>
              <a:gd name="connsiteY29" fmla="*/ 5712276 h 6083506"/>
              <a:gd name="connsiteX30" fmla="*/ 49186 w 6957336"/>
              <a:gd name="connsiteY30" fmla="*/ 4171728 h 6083506"/>
              <a:gd name="connsiteX0" fmla="*/ 49186 w 6957336"/>
              <a:gd name="connsiteY0" fmla="*/ 4180501 h 6092279"/>
              <a:gd name="connsiteX1" fmla="*/ 588915 w 6957336"/>
              <a:gd name="connsiteY1" fmla="*/ 2581998 h 6092279"/>
              <a:gd name="connsiteX2" fmla="*/ 820830 w 6957336"/>
              <a:gd name="connsiteY2" fmla="*/ 2304421 h 6092279"/>
              <a:gd name="connsiteX3" fmla="*/ 1105382 w 6957336"/>
              <a:gd name="connsiteY3" fmla="*/ 2133264 h 6092279"/>
              <a:gd name="connsiteX4" fmla="*/ 2375382 w 6957336"/>
              <a:gd name="connsiteY4" fmla="*/ 1777665 h 6092279"/>
              <a:gd name="connsiteX5" fmla="*/ 2714048 w 6957336"/>
              <a:gd name="connsiteY5" fmla="*/ 1481332 h 6092279"/>
              <a:gd name="connsiteX6" fmla="*/ 2747913 w 6957336"/>
              <a:gd name="connsiteY6" fmla="*/ 1142666 h 6092279"/>
              <a:gd name="connsiteX7" fmla="*/ 2693267 w 6957336"/>
              <a:gd name="connsiteY7" fmla="*/ 886579 h 6092279"/>
              <a:gd name="connsiteX8" fmla="*/ 2758520 w 6957336"/>
              <a:gd name="connsiteY8" fmla="*/ 40301 h 6092279"/>
              <a:gd name="connsiteX9" fmla="*/ 4725858 w 6957336"/>
              <a:gd name="connsiteY9" fmla="*/ 159882 h 6092279"/>
              <a:gd name="connsiteX10" fmla="*/ 5457247 w 6957336"/>
              <a:gd name="connsiteY10" fmla="*/ 695235 h 6092279"/>
              <a:gd name="connsiteX11" fmla="*/ 5620127 w 6957336"/>
              <a:gd name="connsiteY11" fmla="*/ 1156211 h 6092279"/>
              <a:gd name="connsiteX12" fmla="*/ 5820662 w 6957336"/>
              <a:gd name="connsiteY12" fmla="*/ 1473517 h 6092279"/>
              <a:gd name="connsiteX13" fmla="*/ 6519966 w 6957336"/>
              <a:gd name="connsiteY13" fmla="*/ 1521527 h 6092279"/>
              <a:gd name="connsiteX14" fmla="*/ 6858807 w 6957336"/>
              <a:gd name="connsiteY14" fmla="*/ 1765292 h 6092279"/>
              <a:gd name="connsiteX15" fmla="*/ 6957336 w 6957336"/>
              <a:gd name="connsiteY15" fmla="*/ 2550995 h 6092279"/>
              <a:gd name="connsiteX16" fmla="*/ 6826894 w 6957336"/>
              <a:gd name="connsiteY16" fmla="*/ 3420199 h 6092279"/>
              <a:gd name="connsiteX17" fmla="*/ 6472005 w 6957336"/>
              <a:gd name="connsiteY17" fmla="*/ 3892247 h 6092279"/>
              <a:gd name="connsiteX18" fmla="*/ 5914508 w 6957336"/>
              <a:gd name="connsiteY18" fmla="*/ 4168393 h 6092279"/>
              <a:gd name="connsiteX19" fmla="*/ 5505441 w 6957336"/>
              <a:gd name="connsiteY19" fmla="*/ 4357394 h 6092279"/>
              <a:gd name="connsiteX20" fmla="*/ 5212843 w 6957336"/>
              <a:gd name="connsiteY20" fmla="*/ 4657451 h 6092279"/>
              <a:gd name="connsiteX21" fmla="*/ 5021600 w 6957336"/>
              <a:gd name="connsiteY21" fmla="*/ 5277524 h 6092279"/>
              <a:gd name="connsiteX22" fmla="*/ 4449123 w 6957336"/>
              <a:gd name="connsiteY22" fmla="*/ 5610327 h 6092279"/>
              <a:gd name="connsiteX23" fmla="*/ 4007681 w 6957336"/>
              <a:gd name="connsiteY23" fmla="*/ 5578154 h 6092279"/>
              <a:gd name="connsiteX24" fmla="*/ 3548339 w 6957336"/>
              <a:gd name="connsiteY24" fmla="*/ 5315428 h 6092279"/>
              <a:gd name="connsiteX25" fmla="*/ 2939451 w 6957336"/>
              <a:gd name="connsiteY25" fmla="*/ 5608375 h 6092279"/>
              <a:gd name="connsiteX26" fmla="*/ 2485508 w 6957336"/>
              <a:gd name="connsiteY26" fmla="*/ 5827206 h 6092279"/>
              <a:gd name="connsiteX27" fmla="*/ 1774900 w 6957336"/>
              <a:gd name="connsiteY27" fmla="*/ 6036399 h 6092279"/>
              <a:gd name="connsiteX28" fmla="*/ 1014263 w 6957336"/>
              <a:gd name="connsiteY28" fmla="*/ 6074044 h 6092279"/>
              <a:gd name="connsiteX29" fmla="*/ 212534 w 6957336"/>
              <a:gd name="connsiteY29" fmla="*/ 5721049 h 6092279"/>
              <a:gd name="connsiteX30" fmla="*/ 49186 w 6957336"/>
              <a:gd name="connsiteY30" fmla="*/ 4180501 h 6092279"/>
              <a:gd name="connsiteX0" fmla="*/ 49186 w 6957336"/>
              <a:gd name="connsiteY0" fmla="*/ 4180501 h 6092279"/>
              <a:gd name="connsiteX1" fmla="*/ 588915 w 6957336"/>
              <a:gd name="connsiteY1" fmla="*/ 2581998 h 6092279"/>
              <a:gd name="connsiteX2" fmla="*/ 820830 w 6957336"/>
              <a:gd name="connsiteY2" fmla="*/ 2304421 h 6092279"/>
              <a:gd name="connsiteX3" fmla="*/ 1105382 w 6957336"/>
              <a:gd name="connsiteY3" fmla="*/ 2133264 h 6092279"/>
              <a:gd name="connsiteX4" fmla="*/ 2375382 w 6957336"/>
              <a:gd name="connsiteY4" fmla="*/ 1777665 h 6092279"/>
              <a:gd name="connsiteX5" fmla="*/ 2714048 w 6957336"/>
              <a:gd name="connsiteY5" fmla="*/ 1481332 h 6092279"/>
              <a:gd name="connsiteX6" fmla="*/ 2747913 w 6957336"/>
              <a:gd name="connsiteY6" fmla="*/ 1142666 h 6092279"/>
              <a:gd name="connsiteX7" fmla="*/ 2693267 w 6957336"/>
              <a:gd name="connsiteY7" fmla="*/ 886579 h 6092279"/>
              <a:gd name="connsiteX8" fmla="*/ 2758520 w 6957336"/>
              <a:gd name="connsiteY8" fmla="*/ 40301 h 6092279"/>
              <a:gd name="connsiteX9" fmla="*/ 4725858 w 6957336"/>
              <a:gd name="connsiteY9" fmla="*/ 159882 h 6092279"/>
              <a:gd name="connsiteX10" fmla="*/ 5457247 w 6957336"/>
              <a:gd name="connsiteY10" fmla="*/ 695235 h 6092279"/>
              <a:gd name="connsiteX11" fmla="*/ 5620127 w 6957336"/>
              <a:gd name="connsiteY11" fmla="*/ 1156211 h 6092279"/>
              <a:gd name="connsiteX12" fmla="*/ 5820662 w 6957336"/>
              <a:gd name="connsiteY12" fmla="*/ 1473517 h 6092279"/>
              <a:gd name="connsiteX13" fmla="*/ 6519966 w 6957336"/>
              <a:gd name="connsiteY13" fmla="*/ 1521527 h 6092279"/>
              <a:gd name="connsiteX14" fmla="*/ 6858807 w 6957336"/>
              <a:gd name="connsiteY14" fmla="*/ 1765292 h 6092279"/>
              <a:gd name="connsiteX15" fmla="*/ 6957336 w 6957336"/>
              <a:gd name="connsiteY15" fmla="*/ 2550995 h 6092279"/>
              <a:gd name="connsiteX16" fmla="*/ 6826894 w 6957336"/>
              <a:gd name="connsiteY16" fmla="*/ 3420199 h 6092279"/>
              <a:gd name="connsiteX17" fmla="*/ 6472005 w 6957336"/>
              <a:gd name="connsiteY17" fmla="*/ 3892247 h 6092279"/>
              <a:gd name="connsiteX18" fmla="*/ 5914508 w 6957336"/>
              <a:gd name="connsiteY18" fmla="*/ 4168393 h 6092279"/>
              <a:gd name="connsiteX19" fmla="*/ 5505441 w 6957336"/>
              <a:gd name="connsiteY19" fmla="*/ 4357394 h 6092279"/>
              <a:gd name="connsiteX20" fmla="*/ 5212843 w 6957336"/>
              <a:gd name="connsiteY20" fmla="*/ 4657451 h 6092279"/>
              <a:gd name="connsiteX21" fmla="*/ 5021600 w 6957336"/>
              <a:gd name="connsiteY21" fmla="*/ 5277524 h 6092279"/>
              <a:gd name="connsiteX22" fmla="*/ 4449123 w 6957336"/>
              <a:gd name="connsiteY22" fmla="*/ 5610327 h 6092279"/>
              <a:gd name="connsiteX23" fmla="*/ 4007681 w 6957336"/>
              <a:gd name="connsiteY23" fmla="*/ 5578154 h 6092279"/>
              <a:gd name="connsiteX24" fmla="*/ 3548339 w 6957336"/>
              <a:gd name="connsiteY24" fmla="*/ 5315428 h 6092279"/>
              <a:gd name="connsiteX25" fmla="*/ 2939451 w 6957336"/>
              <a:gd name="connsiteY25" fmla="*/ 5608375 h 6092279"/>
              <a:gd name="connsiteX26" fmla="*/ 2485508 w 6957336"/>
              <a:gd name="connsiteY26" fmla="*/ 5827206 h 6092279"/>
              <a:gd name="connsiteX27" fmla="*/ 1774900 w 6957336"/>
              <a:gd name="connsiteY27" fmla="*/ 6036399 h 6092279"/>
              <a:gd name="connsiteX28" fmla="*/ 1014263 w 6957336"/>
              <a:gd name="connsiteY28" fmla="*/ 6074044 h 6092279"/>
              <a:gd name="connsiteX29" fmla="*/ 212534 w 6957336"/>
              <a:gd name="connsiteY29" fmla="*/ 5721049 h 6092279"/>
              <a:gd name="connsiteX30" fmla="*/ 49186 w 6957336"/>
              <a:gd name="connsiteY30" fmla="*/ 4180501 h 6092279"/>
              <a:gd name="connsiteX0" fmla="*/ 49186 w 6957336"/>
              <a:gd name="connsiteY0" fmla="*/ 4180501 h 6092279"/>
              <a:gd name="connsiteX1" fmla="*/ 588915 w 6957336"/>
              <a:gd name="connsiteY1" fmla="*/ 2581998 h 6092279"/>
              <a:gd name="connsiteX2" fmla="*/ 820830 w 6957336"/>
              <a:gd name="connsiteY2" fmla="*/ 2304421 h 6092279"/>
              <a:gd name="connsiteX3" fmla="*/ 1105382 w 6957336"/>
              <a:gd name="connsiteY3" fmla="*/ 2133264 h 6092279"/>
              <a:gd name="connsiteX4" fmla="*/ 2375382 w 6957336"/>
              <a:gd name="connsiteY4" fmla="*/ 1777665 h 6092279"/>
              <a:gd name="connsiteX5" fmla="*/ 2714048 w 6957336"/>
              <a:gd name="connsiteY5" fmla="*/ 1481332 h 6092279"/>
              <a:gd name="connsiteX6" fmla="*/ 2747913 w 6957336"/>
              <a:gd name="connsiteY6" fmla="*/ 1142666 h 6092279"/>
              <a:gd name="connsiteX7" fmla="*/ 2693267 w 6957336"/>
              <a:gd name="connsiteY7" fmla="*/ 886579 h 6092279"/>
              <a:gd name="connsiteX8" fmla="*/ 2758520 w 6957336"/>
              <a:gd name="connsiteY8" fmla="*/ 40301 h 6092279"/>
              <a:gd name="connsiteX9" fmla="*/ 4725858 w 6957336"/>
              <a:gd name="connsiteY9" fmla="*/ 159882 h 6092279"/>
              <a:gd name="connsiteX10" fmla="*/ 5457247 w 6957336"/>
              <a:gd name="connsiteY10" fmla="*/ 695235 h 6092279"/>
              <a:gd name="connsiteX11" fmla="*/ 5620127 w 6957336"/>
              <a:gd name="connsiteY11" fmla="*/ 1156211 h 6092279"/>
              <a:gd name="connsiteX12" fmla="*/ 5820662 w 6957336"/>
              <a:gd name="connsiteY12" fmla="*/ 1473517 h 6092279"/>
              <a:gd name="connsiteX13" fmla="*/ 6519966 w 6957336"/>
              <a:gd name="connsiteY13" fmla="*/ 1521527 h 6092279"/>
              <a:gd name="connsiteX14" fmla="*/ 6858807 w 6957336"/>
              <a:gd name="connsiteY14" fmla="*/ 1765292 h 6092279"/>
              <a:gd name="connsiteX15" fmla="*/ 6957336 w 6957336"/>
              <a:gd name="connsiteY15" fmla="*/ 2550995 h 6092279"/>
              <a:gd name="connsiteX16" fmla="*/ 6826894 w 6957336"/>
              <a:gd name="connsiteY16" fmla="*/ 3420199 h 6092279"/>
              <a:gd name="connsiteX17" fmla="*/ 6472005 w 6957336"/>
              <a:gd name="connsiteY17" fmla="*/ 3892247 h 6092279"/>
              <a:gd name="connsiteX18" fmla="*/ 5914508 w 6957336"/>
              <a:gd name="connsiteY18" fmla="*/ 4168393 h 6092279"/>
              <a:gd name="connsiteX19" fmla="*/ 5505441 w 6957336"/>
              <a:gd name="connsiteY19" fmla="*/ 4357394 h 6092279"/>
              <a:gd name="connsiteX20" fmla="*/ 5212843 w 6957336"/>
              <a:gd name="connsiteY20" fmla="*/ 4657451 h 6092279"/>
              <a:gd name="connsiteX21" fmla="*/ 5021600 w 6957336"/>
              <a:gd name="connsiteY21" fmla="*/ 5277524 h 6092279"/>
              <a:gd name="connsiteX22" fmla="*/ 4449123 w 6957336"/>
              <a:gd name="connsiteY22" fmla="*/ 5610327 h 6092279"/>
              <a:gd name="connsiteX23" fmla="*/ 4007681 w 6957336"/>
              <a:gd name="connsiteY23" fmla="*/ 5578154 h 6092279"/>
              <a:gd name="connsiteX24" fmla="*/ 3548339 w 6957336"/>
              <a:gd name="connsiteY24" fmla="*/ 5315428 h 6092279"/>
              <a:gd name="connsiteX25" fmla="*/ 2939451 w 6957336"/>
              <a:gd name="connsiteY25" fmla="*/ 5608375 h 6092279"/>
              <a:gd name="connsiteX26" fmla="*/ 2485508 w 6957336"/>
              <a:gd name="connsiteY26" fmla="*/ 5827206 h 6092279"/>
              <a:gd name="connsiteX27" fmla="*/ 1774900 w 6957336"/>
              <a:gd name="connsiteY27" fmla="*/ 6036399 h 6092279"/>
              <a:gd name="connsiteX28" fmla="*/ 1014263 w 6957336"/>
              <a:gd name="connsiteY28" fmla="*/ 6074044 h 6092279"/>
              <a:gd name="connsiteX29" fmla="*/ 212534 w 6957336"/>
              <a:gd name="connsiteY29" fmla="*/ 5721049 h 6092279"/>
              <a:gd name="connsiteX30" fmla="*/ 49186 w 6957336"/>
              <a:gd name="connsiteY30" fmla="*/ 4180501 h 6092279"/>
              <a:gd name="connsiteX0" fmla="*/ 49186 w 6957336"/>
              <a:gd name="connsiteY0" fmla="*/ 4180501 h 6092279"/>
              <a:gd name="connsiteX1" fmla="*/ 588915 w 6957336"/>
              <a:gd name="connsiteY1" fmla="*/ 2581998 h 6092279"/>
              <a:gd name="connsiteX2" fmla="*/ 820830 w 6957336"/>
              <a:gd name="connsiteY2" fmla="*/ 2304421 h 6092279"/>
              <a:gd name="connsiteX3" fmla="*/ 1105382 w 6957336"/>
              <a:gd name="connsiteY3" fmla="*/ 2133264 h 6092279"/>
              <a:gd name="connsiteX4" fmla="*/ 2375382 w 6957336"/>
              <a:gd name="connsiteY4" fmla="*/ 1777665 h 6092279"/>
              <a:gd name="connsiteX5" fmla="*/ 2714048 w 6957336"/>
              <a:gd name="connsiteY5" fmla="*/ 1481332 h 6092279"/>
              <a:gd name="connsiteX6" fmla="*/ 2747913 w 6957336"/>
              <a:gd name="connsiteY6" fmla="*/ 1142666 h 6092279"/>
              <a:gd name="connsiteX7" fmla="*/ 2693267 w 6957336"/>
              <a:gd name="connsiteY7" fmla="*/ 886579 h 6092279"/>
              <a:gd name="connsiteX8" fmla="*/ 2758520 w 6957336"/>
              <a:gd name="connsiteY8" fmla="*/ 40301 h 6092279"/>
              <a:gd name="connsiteX9" fmla="*/ 4725858 w 6957336"/>
              <a:gd name="connsiteY9" fmla="*/ 159882 h 6092279"/>
              <a:gd name="connsiteX10" fmla="*/ 5457247 w 6957336"/>
              <a:gd name="connsiteY10" fmla="*/ 695235 h 6092279"/>
              <a:gd name="connsiteX11" fmla="*/ 5620127 w 6957336"/>
              <a:gd name="connsiteY11" fmla="*/ 1156211 h 6092279"/>
              <a:gd name="connsiteX12" fmla="*/ 5820662 w 6957336"/>
              <a:gd name="connsiteY12" fmla="*/ 1473517 h 6092279"/>
              <a:gd name="connsiteX13" fmla="*/ 6519966 w 6957336"/>
              <a:gd name="connsiteY13" fmla="*/ 1521527 h 6092279"/>
              <a:gd name="connsiteX14" fmla="*/ 6858807 w 6957336"/>
              <a:gd name="connsiteY14" fmla="*/ 1765292 h 6092279"/>
              <a:gd name="connsiteX15" fmla="*/ 6957336 w 6957336"/>
              <a:gd name="connsiteY15" fmla="*/ 2550995 h 6092279"/>
              <a:gd name="connsiteX16" fmla="*/ 6826894 w 6957336"/>
              <a:gd name="connsiteY16" fmla="*/ 3420199 h 6092279"/>
              <a:gd name="connsiteX17" fmla="*/ 6472005 w 6957336"/>
              <a:gd name="connsiteY17" fmla="*/ 3892247 h 6092279"/>
              <a:gd name="connsiteX18" fmla="*/ 5914508 w 6957336"/>
              <a:gd name="connsiteY18" fmla="*/ 4168393 h 6092279"/>
              <a:gd name="connsiteX19" fmla="*/ 5505441 w 6957336"/>
              <a:gd name="connsiteY19" fmla="*/ 4357394 h 6092279"/>
              <a:gd name="connsiteX20" fmla="*/ 5212843 w 6957336"/>
              <a:gd name="connsiteY20" fmla="*/ 4657451 h 6092279"/>
              <a:gd name="connsiteX21" fmla="*/ 5021600 w 6957336"/>
              <a:gd name="connsiteY21" fmla="*/ 5277524 h 6092279"/>
              <a:gd name="connsiteX22" fmla="*/ 4449123 w 6957336"/>
              <a:gd name="connsiteY22" fmla="*/ 5610327 h 6092279"/>
              <a:gd name="connsiteX23" fmla="*/ 4007681 w 6957336"/>
              <a:gd name="connsiteY23" fmla="*/ 5578154 h 6092279"/>
              <a:gd name="connsiteX24" fmla="*/ 3548339 w 6957336"/>
              <a:gd name="connsiteY24" fmla="*/ 5315428 h 6092279"/>
              <a:gd name="connsiteX25" fmla="*/ 2939451 w 6957336"/>
              <a:gd name="connsiteY25" fmla="*/ 5608375 h 6092279"/>
              <a:gd name="connsiteX26" fmla="*/ 2485508 w 6957336"/>
              <a:gd name="connsiteY26" fmla="*/ 5827206 h 6092279"/>
              <a:gd name="connsiteX27" fmla="*/ 1774900 w 6957336"/>
              <a:gd name="connsiteY27" fmla="*/ 6036399 h 6092279"/>
              <a:gd name="connsiteX28" fmla="*/ 1014263 w 6957336"/>
              <a:gd name="connsiteY28" fmla="*/ 6074044 h 6092279"/>
              <a:gd name="connsiteX29" fmla="*/ 212534 w 6957336"/>
              <a:gd name="connsiteY29" fmla="*/ 5721049 h 6092279"/>
              <a:gd name="connsiteX30" fmla="*/ 49186 w 6957336"/>
              <a:gd name="connsiteY30" fmla="*/ 4180501 h 6092279"/>
              <a:gd name="connsiteX0" fmla="*/ 49186 w 6957336"/>
              <a:gd name="connsiteY0" fmla="*/ 4187407 h 6099185"/>
              <a:gd name="connsiteX1" fmla="*/ 588915 w 6957336"/>
              <a:gd name="connsiteY1" fmla="*/ 2588904 h 6099185"/>
              <a:gd name="connsiteX2" fmla="*/ 820830 w 6957336"/>
              <a:gd name="connsiteY2" fmla="*/ 2311327 h 6099185"/>
              <a:gd name="connsiteX3" fmla="*/ 1105382 w 6957336"/>
              <a:gd name="connsiteY3" fmla="*/ 2140170 h 6099185"/>
              <a:gd name="connsiteX4" fmla="*/ 2375382 w 6957336"/>
              <a:gd name="connsiteY4" fmla="*/ 1784571 h 6099185"/>
              <a:gd name="connsiteX5" fmla="*/ 2714048 w 6957336"/>
              <a:gd name="connsiteY5" fmla="*/ 1488238 h 6099185"/>
              <a:gd name="connsiteX6" fmla="*/ 2747913 w 6957336"/>
              <a:gd name="connsiteY6" fmla="*/ 1149572 h 6099185"/>
              <a:gd name="connsiteX7" fmla="*/ 2693267 w 6957336"/>
              <a:gd name="connsiteY7" fmla="*/ 893485 h 6099185"/>
              <a:gd name="connsiteX8" fmla="*/ 2758520 w 6957336"/>
              <a:gd name="connsiteY8" fmla="*/ 47207 h 6099185"/>
              <a:gd name="connsiteX9" fmla="*/ 4725858 w 6957336"/>
              <a:gd name="connsiteY9" fmla="*/ 166788 h 6099185"/>
              <a:gd name="connsiteX10" fmla="*/ 5457247 w 6957336"/>
              <a:gd name="connsiteY10" fmla="*/ 702141 h 6099185"/>
              <a:gd name="connsiteX11" fmla="*/ 5620127 w 6957336"/>
              <a:gd name="connsiteY11" fmla="*/ 1163117 h 6099185"/>
              <a:gd name="connsiteX12" fmla="*/ 5820662 w 6957336"/>
              <a:gd name="connsiteY12" fmla="*/ 1480423 h 6099185"/>
              <a:gd name="connsiteX13" fmla="*/ 6519966 w 6957336"/>
              <a:gd name="connsiteY13" fmla="*/ 1528433 h 6099185"/>
              <a:gd name="connsiteX14" fmla="*/ 6858807 w 6957336"/>
              <a:gd name="connsiteY14" fmla="*/ 1772198 h 6099185"/>
              <a:gd name="connsiteX15" fmla="*/ 6957336 w 6957336"/>
              <a:gd name="connsiteY15" fmla="*/ 2557901 h 6099185"/>
              <a:gd name="connsiteX16" fmla="*/ 6826894 w 6957336"/>
              <a:gd name="connsiteY16" fmla="*/ 3427105 h 6099185"/>
              <a:gd name="connsiteX17" fmla="*/ 6472005 w 6957336"/>
              <a:gd name="connsiteY17" fmla="*/ 3899153 h 6099185"/>
              <a:gd name="connsiteX18" fmla="*/ 5914508 w 6957336"/>
              <a:gd name="connsiteY18" fmla="*/ 4175299 h 6099185"/>
              <a:gd name="connsiteX19" fmla="*/ 5505441 w 6957336"/>
              <a:gd name="connsiteY19" fmla="*/ 4364300 h 6099185"/>
              <a:gd name="connsiteX20" fmla="*/ 5212843 w 6957336"/>
              <a:gd name="connsiteY20" fmla="*/ 4664357 h 6099185"/>
              <a:gd name="connsiteX21" fmla="*/ 5021600 w 6957336"/>
              <a:gd name="connsiteY21" fmla="*/ 5284430 h 6099185"/>
              <a:gd name="connsiteX22" fmla="*/ 4449123 w 6957336"/>
              <a:gd name="connsiteY22" fmla="*/ 5617233 h 6099185"/>
              <a:gd name="connsiteX23" fmla="*/ 4007681 w 6957336"/>
              <a:gd name="connsiteY23" fmla="*/ 5585060 h 6099185"/>
              <a:gd name="connsiteX24" fmla="*/ 3548339 w 6957336"/>
              <a:gd name="connsiteY24" fmla="*/ 5322334 h 6099185"/>
              <a:gd name="connsiteX25" fmla="*/ 2939451 w 6957336"/>
              <a:gd name="connsiteY25" fmla="*/ 5615281 h 6099185"/>
              <a:gd name="connsiteX26" fmla="*/ 2485508 w 6957336"/>
              <a:gd name="connsiteY26" fmla="*/ 5834112 h 6099185"/>
              <a:gd name="connsiteX27" fmla="*/ 1774900 w 6957336"/>
              <a:gd name="connsiteY27" fmla="*/ 6043305 h 6099185"/>
              <a:gd name="connsiteX28" fmla="*/ 1014263 w 6957336"/>
              <a:gd name="connsiteY28" fmla="*/ 6080950 h 6099185"/>
              <a:gd name="connsiteX29" fmla="*/ 212534 w 6957336"/>
              <a:gd name="connsiteY29" fmla="*/ 5727955 h 6099185"/>
              <a:gd name="connsiteX30" fmla="*/ 49186 w 6957336"/>
              <a:gd name="connsiteY30" fmla="*/ 4187407 h 6099185"/>
              <a:gd name="connsiteX0" fmla="*/ 49186 w 6957336"/>
              <a:gd name="connsiteY0" fmla="*/ 4192224 h 6104002"/>
              <a:gd name="connsiteX1" fmla="*/ 588915 w 6957336"/>
              <a:gd name="connsiteY1" fmla="*/ 2593721 h 6104002"/>
              <a:gd name="connsiteX2" fmla="*/ 820830 w 6957336"/>
              <a:gd name="connsiteY2" fmla="*/ 2316144 h 6104002"/>
              <a:gd name="connsiteX3" fmla="*/ 1105382 w 6957336"/>
              <a:gd name="connsiteY3" fmla="*/ 2144987 h 6104002"/>
              <a:gd name="connsiteX4" fmla="*/ 2375382 w 6957336"/>
              <a:gd name="connsiteY4" fmla="*/ 1789388 h 6104002"/>
              <a:gd name="connsiteX5" fmla="*/ 2714048 w 6957336"/>
              <a:gd name="connsiteY5" fmla="*/ 1493055 h 6104002"/>
              <a:gd name="connsiteX6" fmla="*/ 2747913 w 6957336"/>
              <a:gd name="connsiteY6" fmla="*/ 1154389 h 6104002"/>
              <a:gd name="connsiteX7" fmla="*/ 2693267 w 6957336"/>
              <a:gd name="connsiteY7" fmla="*/ 898302 h 6104002"/>
              <a:gd name="connsiteX8" fmla="*/ 2758520 w 6957336"/>
              <a:gd name="connsiteY8" fmla="*/ 52024 h 6104002"/>
              <a:gd name="connsiteX9" fmla="*/ 4719996 w 6957336"/>
              <a:gd name="connsiteY9" fmla="*/ 154020 h 6104002"/>
              <a:gd name="connsiteX10" fmla="*/ 5457247 w 6957336"/>
              <a:gd name="connsiteY10" fmla="*/ 706958 h 6104002"/>
              <a:gd name="connsiteX11" fmla="*/ 5620127 w 6957336"/>
              <a:gd name="connsiteY11" fmla="*/ 1167934 h 6104002"/>
              <a:gd name="connsiteX12" fmla="*/ 5820662 w 6957336"/>
              <a:gd name="connsiteY12" fmla="*/ 1485240 h 6104002"/>
              <a:gd name="connsiteX13" fmla="*/ 6519966 w 6957336"/>
              <a:gd name="connsiteY13" fmla="*/ 1533250 h 6104002"/>
              <a:gd name="connsiteX14" fmla="*/ 6858807 w 6957336"/>
              <a:gd name="connsiteY14" fmla="*/ 1777015 h 6104002"/>
              <a:gd name="connsiteX15" fmla="*/ 6957336 w 6957336"/>
              <a:gd name="connsiteY15" fmla="*/ 2562718 h 6104002"/>
              <a:gd name="connsiteX16" fmla="*/ 6826894 w 6957336"/>
              <a:gd name="connsiteY16" fmla="*/ 3431922 h 6104002"/>
              <a:gd name="connsiteX17" fmla="*/ 6472005 w 6957336"/>
              <a:gd name="connsiteY17" fmla="*/ 3903970 h 6104002"/>
              <a:gd name="connsiteX18" fmla="*/ 5914508 w 6957336"/>
              <a:gd name="connsiteY18" fmla="*/ 4180116 h 6104002"/>
              <a:gd name="connsiteX19" fmla="*/ 5505441 w 6957336"/>
              <a:gd name="connsiteY19" fmla="*/ 4369117 h 6104002"/>
              <a:gd name="connsiteX20" fmla="*/ 5212843 w 6957336"/>
              <a:gd name="connsiteY20" fmla="*/ 4669174 h 6104002"/>
              <a:gd name="connsiteX21" fmla="*/ 5021600 w 6957336"/>
              <a:gd name="connsiteY21" fmla="*/ 5289247 h 6104002"/>
              <a:gd name="connsiteX22" fmla="*/ 4449123 w 6957336"/>
              <a:gd name="connsiteY22" fmla="*/ 5622050 h 6104002"/>
              <a:gd name="connsiteX23" fmla="*/ 4007681 w 6957336"/>
              <a:gd name="connsiteY23" fmla="*/ 5589877 h 6104002"/>
              <a:gd name="connsiteX24" fmla="*/ 3548339 w 6957336"/>
              <a:gd name="connsiteY24" fmla="*/ 5327151 h 6104002"/>
              <a:gd name="connsiteX25" fmla="*/ 2939451 w 6957336"/>
              <a:gd name="connsiteY25" fmla="*/ 5620098 h 6104002"/>
              <a:gd name="connsiteX26" fmla="*/ 2485508 w 6957336"/>
              <a:gd name="connsiteY26" fmla="*/ 5838929 h 6104002"/>
              <a:gd name="connsiteX27" fmla="*/ 1774900 w 6957336"/>
              <a:gd name="connsiteY27" fmla="*/ 6048122 h 6104002"/>
              <a:gd name="connsiteX28" fmla="*/ 1014263 w 6957336"/>
              <a:gd name="connsiteY28" fmla="*/ 6085767 h 6104002"/>
              <a:gd name="connsiteX29" fmla="*/ 212534 w 6957336"/>
              <a:gd name="connsiteY29" fmla="*/ 5732772 h 6104002"/>
              <a:gd name="connsiteX30" fmla="*/ 49186 w 6957336"/>
              <a:gd name="connsiteY30" fmla="*/ 4192224 h 6104002"/>
              <a:gd name="connsiteX0" fmla="*/ 49186 w 6957336"/>
              <a:gd name="connsiteY0" fmla="*/ 4211042 h 6122820"/>
              <a:gd name="connsiteX1" fmla="*/ 588915 w 6957336"/>
              <a:gd name="connsiteY1" fmla="*/ 2612539 h 6122820"/>
              <a:gd name="connsiteX2" fmla="*/ 820830 w 6957336"/>
              <a:gd name="connsiteY2" fmla="*/ 2334962 h 6122820"/>
              <a:gd name="connsiteX3" fmla="*/ 1105382 w 6957336"/>
              <a:gd name="connsiteY3" fmla="*/ 2163805 h 6122820"/>
              <a:gd name="connsiteX4" fmla="*/ 2375382 w 6957336"/>
              <a:gd name="connsiteY4" fmla="*/ 1808206 h 6122820"/>
              <a:gd name="connsiteX5" fmla="*/ 2714048 w 6957336"/>
              <a:gd name="connsiteY5" fmla="*/ 1511873 h 6122820"/>
              <a:gd name="connsiteX6" fmla="*/ 2747913 w 6957336"/>
              <a:gd name="connsiteY6" fmla="*/ 1173207 h 6122820"/>
              <a:gd name="connsiteX7" fmla="*/ 2693267 w 6957336"/>
              <a:gd name="connsiteY7" fmla="*/ 917120 h 6122820"/>
              <a:gd name="connsiteX8" fmla="*/ 2735074 w 6957336"/>
              <a:gd name="connsiteY8" fmla="*/ 47396 h 6122820"/>
              <a:gd name="connsiteX9" fmla="*/ 4719996 w 6957336"/>
              <a:gd name="connsiteY9" fmla="*/ 172838 h 6122820"/>
              <a:gd name="connsiteX10" fmla="*/ 5457247 w 6957336"/>
              <a:gd name="connsiteY10" fmla="*/ 725776 h 6122820"/>
              <a:gd name="connsiteX11" fmla="*/ 5620127 w 6957336"/>
              <a:gd name="connsiteY11" fmla="*/ 1186752 h 6122820"/>
              <a:gd name="connsiteX12" fmla="*/ 5820662 w 6957336"/>
              <a:gd name="connsiteY12" fmla="*/ 1504058 h 6122820"/>
              <a:gd name="connsiteX13" fmla="*/ 6519966 w 6957336"/>
              <a:gd name="connsiteY13" fmla="*/ 1552068 h 6122820"/>
              <a:gd name="connsiteX14" fmla="*/ 6858807 w 6957336"/>
              <a:gd name="connsiteY14" fmla="*/ 1795833 h 6122820"/>
              <a:gd name="connsiteX15" fmla="*/ 6957336 w 6957336"/>
              <a:gd name="connsiteY15" fmla="*/ 2581536 h 6122820"/>
              <a:gd name="connsiteX16" fmla="*/ 6826894 w 6957336"/>
              <a:gd name="connsiteY16" fmla="*/ 3450740 h 6122820"/>
              <a:gd name="connsiteX17" fmla="*/ 6472005 w 6957336"/>
              <a:gd name="connsiteY17" fmla="*/ 3922788 h 6122820"/>
              <a:gd name="connsiteX18" fmla="*/ 5914508 w 6957336"/>
              <a:gd name="connsiteY18" fmla="*/ 4198934 h 6122820"/>
              <a:gd name="connsiteX19" fmla="*/ 5505441 w 6957336"/>
              <a:gd name="connsiteY19" fmla="*/ 4387935 h 6122820"/>
              <a:gd name="connsiteX20" fmla="*/ 5212843 w 6957336"/>
              <a:gd name="connsiteY20" fmla="*/ 4687992 h 6122820"/>
              <a:gd name="connsiteX21" fmla="*/ 5021600 w 6957336"/>
              <a:gd name="connsiteY21" fmla="*/ 5308065 h 6122820"/>
              <a:gd name="connsiteX22" fmla="*/ 4449123 w 6957336"/>
              <a:gd name="connsiteY22" fmla="*/ 5640868 h 6122820"/>
              <a:gd name="connsiteX23" fmla="*/ 4007681 w 6957336"/>
              <a:gd name="connsiteY23" fmla="*/ 5608695 h 6122820"/>
              <a:gd name="connsiteX24" fmla="*/ 3548339 w 6957336"/>
              <a:gd name="connsiteY24" fmla="*/ 5345969 h 6122820"/>
              <a:gd name="connsiteX25" fmla="*/ 2939451 w 6957336"/>
              <a:gd name="connsiteY25" fmla="*/ 5638916 h 6122820"/>
              <a:gd name="connsiteX26" fmla="*/ 2485508 w 6957336"/>
              <a:gd name="connsiteY26" fmla="*/ 5857747 h 6122820"/>
              <a:gd name="connsiteX27" fmla="*/ 1774900 w 6957336"/>
              <a:gd name="connsiteY27" fmla="*/ 6066940 h 6122820"/>
              <a:gd name="connsiteX28" fmla="*/ 1014263 w 6957336"/>
              <a:gd name="connsiteY28" fmla="*/ 6104585 h 6122820"/>
              <a:gd name="connsiteX29" fmla="*/ 212534 w 6957336"/>
              <a:gd name="connsiteY29" fmla="*/ 5751590 h 6122820"/>
              <a:gd name="connsiteX30" fmla="*/ 49186 w 6957336"/>
              <a:gd name="connsiteY30" fmla="*/ 4211042 h 6122820"/>
              <a:gd name="connsiteX0" fmla="*/ 49186 w 6957336"/>
              <a:gd name="connsiteY0" fmla="*/ 4165136 h 6076914"/>
              <a:gd name="connsiteX1" fmla="*/ 588915 w 6957336"/>
              <a:gd name="connsiteY1" fmla="*/ 2566633 h 6076914"/>
              <a:gd name="connsiteX2" fmla="*/ 820830 w 6957336"/>
              <a:gd name="connsiteY2" fmla="*/ 2289056 h 6076914"/>
              <a:gd name="connsiteX3" fmla="*/ 1105382 w 6957336"/>
              <a:gd name="connsiteY3" fmla="*/ 2117899 h 6076914"/>
              <a:gd name="connsiteX4" fmla="*/ 2375382 w 6957336"/>
              <a:gd name="connsiteY4" fmla="*/ 1762300 h 6076914"/>
              <a:gd name="connsiteX5" fmla="*/ 2714048 w 6957336"/>
              <a:gd name="connsiteY5" fmla="*/ 1465967 h 6076914"/>
              <a:gd name="connsiteX6" fmla="*/ 2747913 w 6957336"/>
              <a:gd name="connsiteY6" fmla="*/ 1127301 h 6076914"/>
              <a:gd name="connsiteX7" fmla="*/ 2693267 w 6957336"/>
              <a:gd name="connsiteY7" fmla="*/ 871214 h 6076914"/>
              <a:gd name="connsiteX8" fmla="*/ 2735074 w 6957336"/>
              <a:gd name="connsiteY8" fmla="*/ 1490 h 6076914"/>
              <a:gd name="connsiteX9" fmla="*/ 4719996 w 6957336"/>
              <a:gd name="connsiteY9" fmla="*/ 126932 h 6076914"/>
              <a:gd name="connsiteX10" fmla="*/ 5457247 w 6957336"/>
              <a:gd name="connsiteY10" fmla="*/ 679870 h 6076914"/>
              <a:gd name="connsiteX11" fmla="*/ 5620127 w 6957336"/>
              <a:gd name="connsiteY11" fmla="*/ 1140846 h 6076914"/>
              <a:gd name="connsiteX12" fmla="*/ 5820662 w 6957336"/>
              <a:gd name="connsiteY12" fmla="*/ 1458152 h 6076914"/>
              <a:gd name="connsiteX13" fmla="*/ 6519966 w 6957336"/>
              <a:gd name="connsiteY13" fmla="*/ 1506162 h 6076914"/>
              <a:gd name="connsiteX14" fmla="*/ 6858807 w 6957336"/>
              <a:gd name="connsiteY14" fmla="*/ 1749927 h 6076914"/>
              <a:gd name="connsiteX15" fmla="*/ 6957336 w 6957336"/>
              <a:gd name="connsiteY15" fmla="*/ 2535630 h 6076914"/>
              <a:gd name="connsiteX16" fmla="*/ 6826894 w 6957336"/>
              <a:gd name="connsiteY16" fmla="*/ 3404834 h 6076914"/>
              <a:gd name="connsiteX17" fmla="*/ 6472005 w 6957336"/>
              <a:gd name="connsiteY17" fmla="*/ 3876882 h 6076914"/>
              <a:gd name="connsiteX18" fmla="*/ 5914508 w 6957336"/>
              <a:gd name="connsiteY18" fmla="*/ 4153028 h 6076914"/>
              <a:gd name="connsiteX19" fmla="*/ 5505441 w 6957336"/>
              <a:gd name="connsiteY19" fmla="*/ 4342029 h 6076914"/>
              <a:gd name="connsiteX20" fmla="*/ 5212843 w 6957336"/>
              <a:gd name="connsiteY20" fmla="*/ 4642086 h 6076914"/>
              <a:gd name="connsiteX21" fmla="*/ 5021600 w 6957336"/>
              <a:gd name="connsiteY21" fmla="*/ 5262159 h 6076914"/>
              <a:gd name="connsiteX22" fmla="*/ 4449123 w 6957336"/>
              <a:gd name="connsiteY22" fmla="*/ 5594962 h 6076914"/>
              <a:gd name="connsiteX23" fmla="*/ 4007681 w 6957336"/>
              <a:gd name="connsiteY23" fmla="*/ 5562789 h 6076914"/>
              <a:gd name="connsiteX24" fmla="*/ 3548339 w 6957336"/>
              <a:gd name="connsiteY24" fmla="*/ 5300063 h 6076914"/>
              <a:gd name="connsiteX25" fmla="*/ 2939451 w 6957336"/>
              <a:gd name="connsiteY25" fmla="*/ 5593010 h 6076914"/>
              <a:gd name="connsiteX26" fmla="*/ 2485508 w 6957336"/>
              <a:gd name="connsiteY26" fmla="*/ 5811841 h 6076914"/>
              <a:gd name="connsiteX27" fmla="*/ 1774900 w 6957336"/>
              <a:gd name="connsiteY27" fmla="*/ 6021034 h 6076914"/>
              <a:gd name="connsiteX28" fmla="*/ 1014263 w 6957336"/>
              <a:gd name="connsiteY28" fmla="*/ 6058679 h 6076914"/>
              <a:gd name="connsiteX29" fmla="*/ 212534 w 6957336"/>
              <a:gd name="connsiteY29" fmla="*/ 5705684 h 6076914"/>
              <a:gd name="connsiteX30" fmla="*/ 49186 w 6957336"/>
              <a:gd name="connsiteY30" fmla="*/ 4165136 h 6076914"/>
              <a:gd name="connsiteX0" fmla="*/ 49186 w 6957336"/>
              <a:gd name="connsiteY0" fmla="*/ 4178912 h 6090690"/>
              <a:gd name="connsiteX1" fmla="*/ 588915 w 6957336"/>
              <a:gd name="connsiteY1" fmla="*/ 2580409 h 6090690"/>
              <a:gd name="connsiteX2" fmla="*/ 820830 w 6957336"/>
              <a:gd name="connsiteY2" fmla="*/ 2302832 h 6090690"/>
              <a:gd name="connsiteX3" fmla="*/ 1105382 w 6957336"/>
              <a:gd name="connsiteY3" fmla="*/ 2131675 h 6090690"/>
              <a:gd name="connsiteX4" fmla="*/ 2375382 w 6957336"/>
              <a:gd name="connsiteY4" fmla="*/ 1776076 h 6090690"/>
              <a:gd name="connsiteX5" fmla="*/ 2714048 w 6957336"/>
              <a:gd name="connsiteY5" fmla="*/ 1479743 h 6090690"/>
              <a:gd name="connsiteX6" fmla="*/ 2747913 w 6957336"/>
              <a:gd name="connsiteY6" fmla="*/ 1141077 h 6090690"/>
              <a:gd name="connsiteX7" fmla="*/ 2693267 w 6957336"/>
              <a:gd name="connsiteY7" fmla="*/ 884990 h 6090690"/>
              <a:gd name="connsiteX8" fmla="*/ 2735074 w 6957336"/>
              <a:gd name="connsiteY8" fmla="*/ 15266 h 6090690"/>
              <a:gd name="connsiteX9" fmla="*/ 4719996 w 6957336"/>
              <a:gd name="connsiteY9" fmla="*/ 140708 h 6090690"/>
              <a:gd name="connsiteX10" fmla="*/ 5457247 w 6957336"/>
              <a:gd name="connsiteY10" fmla="*/ 693646 h 6090690"/>
              <a:gd name="connsiteX11" fmla="*/ 5620127 w 6957336"/>
              <a:gd name="connsiteY11" fmla="*/ 1154622 h 6090690"/>
              <a:gd name="connsiteX12" fmla="*/ 5820662 w 6957336"/>
              <a:gd name="connsiteY12" fmla="*/ 1471928 h 6090690"/>
              <a:gd name="connsiteX13" fmla="*/ 6519966 w 6957336"/>
              <a:gd name="connsiteY13" fmla="*/ 1519938 h 6090690"/>
              <a:gd name="connsiteX14" fmla="*/ 6858807 w 6957336"/>
              <a:gd name="connsiteY14" fmla="*/ 1763703 h 6090690"/>
              <a:gd name="connsiteX15" fmla="*/ 6957336 w 6957336"/>
              <a:gd name="connsiteY15" fmla="*/ 2549406 h 6090690"/>
              <a:gd name="connsiteX16" fmla="*/ 6826894 w 6957336"/>
              <a:gd name="connsiteY16" fmla="*/ 3418610 h 6090690"/>
              <a:gd name="connsiteX17" fmla="*/ 6472005 w 6957336"/>
              <a:gd name="connsiteY17" fmla="*/ 3890658 h 6090690"/>
              <a:gd name="connsiteX18" fmla="*/ 5914508 w 6957336"/>
              <a:gd name="connsiteY18" fmla="*/ 4166804 h 6090690"/>
              <a:gd name="connsiteX19" fmla="*/ 5505441 w 6957336"/>
              <a:gd name="connsiteY19" fmla="*/ 4355805 h 6090690"/>
              <a:gd name="connsiteX20" fmla="*/ 5212843 w 6957336"/>
              <a:gd name="connsiteY20" fmla="*/ 4655862 h 6090690"/>
              <a:gd name="connsiteX21" fmla="*/ 5021600 w 6957336"/>
              <a:gd name="connsiteY21" fmla="*/ 5275935 h 6090690"/>
              <a:gd name="connsiteX22" fmla="*/ 4449123 w 6957336"/>
              <a:gd name="connsiteY22" fmla="*/ 5608738 h 6090690"/>
              <a:gd name="connsiteX23" fmla="*/ 4007681 w 6957336"/>
              <a:gd name="connsiteY23" fmla="*/ 5576565 h 6090690"/>
              <a:gd name="connsiteX24" fmla="*/ 3548339 w 6957336"/>
              <a:gd name="connsiteY24" fmla="*/ 5313839 h 6090690"/>
              <a:gd name="connsiteX25" fmla="*/ 2939451 w 6957336"/>
              <a:gd name="connsiteY25" fmla="*/ 5606786 h 6090690"/>
              <a:gd name="connsiteX26" fmla="*/ 2485508 w 6957336"/>
              <a:gd name="connsiteY26" fmla="*/ 5825617 h 6090690"/>
              <a:gd name="connsiteX27" fmla="*/ 1774900 w 6957336"/>
              <a:gd name="connsiteY27" fmla="*/ 6034810 h 6090690"/>
              <a:gd name="connsiteX28" fmla="*/ 1014263 w 6957336"/>
              <a:gd name="connsiteY28" fmla="*/ 6072455 h 6090690"/>
              <a:gd name="connsiteX29" fmla="*/ 212534 w 6957336"/>
              <a:gd name="connsiteY29" fmla="*/ 5719460 h 6090690"/>
              <a:gd name="connsiteX30" fmla="*/ 49186 w 6957336"/>
              <a:gd name="connsiteY30" fmla="*/ 4178912 h 6090690"/>
              <a:gd name="connsiteX0" fmla="*/ 49186 w 6957336"/>
              <a:gd name="connsiteY0" fmla="*/ 4195951 h 6107729"/>
              <a:gd name="connsiteX1" fmla="*/ 588915 w 6957336"/>
              <a:gd name="connsiteY1" fmla="*/ 2597448 h 6107729"/>
              <a:gd name="connsiteX2" fmla="*/ 820830 w 6957336"/>
              <a:gd name="connsiteY2" fmla="*/ 2319871 h 6107729"/>
              <a:gd name="connsiteX3" fmla="*/ 1105382 w 6957336"/>
              <a:gd name="connsiteY3" fmla="*/ 2148714 h 6107729"/>
              <a:gd name="connsiteX4" fmla="*/ 2375382 w 6957336"/>
              <a:gd name="connsiteY4" fmla="*/ 1793115 h 6107729"/>
              <a:gd name="connsiteX5" fmla="*/ 2714048 w 6957336"/>
              <a:gd name="connsiteY5" fmla="*/ 1496782 h 6107729"/>
              <a:gd name="connsiteX6" fmla="*/ 2747913 w 6957336"/>
              <a:gd name="connsiteY6" fmla="*/ 1158116 h 6107729"/>
              <a:gd name="connsiteX7" fmla="*/ 2693267 w 6957336"/>
              <a:gd name="connsiteY7" fmla="*/ 902029 h 6107729"/>
              <a:gd name="connsiteX8" fmla="*/ 2735074 w 6957336"/>
              <a:gd name="connsiteY8" fmla="*/ 32305 h 6107729"/>
              <a:gd name="connsiteX9" fmla="*/ 4719996 w 6957336"/>
              <a:gd name="connsiteY9" fmla="*/ 157747 h 6107729"/>
              <a:gd name="connsiteX10" fmla="*/ 5457247 w 6957336"/>
              <a:gd name="connsiteY10" fmla="*/ 710685 h 6107729"/>
              <a:gd name="connsiteX11" fmla="*/ 5620127 w 6957336"/>
              <a:gd name="connsiteY11" fmla="*/ 1171661 h 6107729"/>
              <a:gd name="connsiteX12" fmla="*/ 5820662 w 6957336"/>
              <a:gd name="connsiteY12" fmla="*/ 1488967 h 6107729"/>
              <a:gd name="connsiteX13" fmla="*/ 6519966 w 6957336"/>
              <a:gd name="connsiteY13" fmla="*/ 1536977 h 6107729"/>
              <a:gd name="connsiteX14" fmla="*/ 6858807 w 6957336"/>
              <a:gd name="connsiteY14" fmla="*/ 1780742 h 6107729"/>
              <a:gd name="connsiteX15" fmla="*/ 6957336 w 6957336"/>
              <a:gd name="connsiteY15" fmla="*/ 2566445 h 6107729"/>
              <a:gd name="connsiteX16" fmla="*/ 6826894 w 6957336"/>
              <a:gd name="connsiteY16" fmla="*/ 3435649 h 6107729"/>
              <a:gd name="connsiteX17" fmla="*/ 6472005 w 6957336"/>
              <a:gd name="connsiteY17" fmla="*/ 3907697 h 6107729"/>
              <a:gd name="connsiteX18" fmla="*/ 5914508 w 6957336"/>
              <a:gd name="connsiteY18" fmla="*/ 4183843 h 6107729"/>
              <a:gd name="connsiteX19" fmla="*/ 5505441 w 6957336"/>
              <a:gd name="connsiteY19" fmla="*/ 4372844 h 6107729"/>
              <a:gd name="connsiteX20" fmla="*/ 5212843 w 6957336"/>
              <a:gd name="connsiteY20" fmla="*/ 4672901 h 6107729"/>
              <a:gd name="connsiteX21" fmla="*/ 5021600 w 6957336"/>
              <a:gd name="connsiteY21" fmla="*/ 5292974 h 6107729"/>
              <a:gd name="connsiteX22" fmla="*/ 4449123 w 6957336"/>
              <a:gd name="connsiteY22" fmla="*/ 5625777 h 6107729"/>
              <a:gd name="connsiteX23" fmla="*/ 4007681 w 6957336"/>
              <a:gd name="connsiteY23" fmla="*/ 5593604 h 6107729"/>
              <a:gd name="connsiteX24" fmla="*/ 3548339 w 6957336"/>
              <a:gd name="connsiteY24" fmla="*/ 5330878 h 6107729"/>
              <a:gd name="connsiteX25" fmla="*/ 2939451 w 6957336"/>
              <a:gd name="connsiteY25" fmla="*/ 5623825 h 6107729"/>
              <a:gd name="connsiteX26" fmla="*/ 2485508 w 6957336"/>
              <a:gd name="connsiteY26" fmla="*/ 5842656 h 6107729"/>
              <a:gd name="connsiteX27" fmla="*/ 1774900 w 6957336"/>
              <a:gd name="connsiteY27" fmla="*/ 6051849 h 6107729"/>
              <a:gd name="connsiteX28" fmla="*/ 1014263 w 6957336"/>
              <a:gd name="connsiteY28" fmla="*/ 6089494 h 6107729"/>
              <a:gd name="connsiteX29" fmla="*/ 212534 w 6957336"/>
              <a:gd name="connsiteY29" fmla="*/ 5736499 h 6107729"/>
              <a:gd name="connsiteX30" fmla="*/ 49186 w 6957336"/>
              <a:gd name="connsiteY30" fmla="*/ 4195951 h 6107729"/>
              <a:gd name="connsiteX0" fmla="*/ 49186 w 6957336"/>
              <a:gd name="connsiteY0" fmla="*/ 4216968 h 6128746"/>
              <a:gd name="connsiteX1" fmla="*/ 588915 w 6957336"/>
              <a:gd name="connsiteY1" fmla="*/ 2618465 h 6128746"/>
              <a:gd name="connsiteX2" fmla="*/ 820830 w 6957336"/>
              <a:gd name="connsiteY2" fmla="*/ 2340888 h 6128746"/>
              <a:gd name="connsiteX3" fmla="*/ 1105382 w 6957336"/>
              <a:gd name="connsiteY3" fmla="*/ 2169731 h 6128746"/>
              <a:gd name="connsiteX4" fmla="*/ 2375382 w 6957336"/>
              <a:gd name="connsiteY4" fmla="*/ 1814132 h 6128746"/>
              <a:gd name="connsiteX5" fmla="*/ 2714048 w 6957336"/>
              <a:gd name="connsiteY5" fmla="*/ 1517799 h 6128746"/>
              <a:gd name="connsiteX6" fmla="*/ 2747913 w 6957336"/>
              <a:gd name="connsiteY6" fmla="*/ 1179133 h 6128746"/>
              <a:gd name="connsiteX7" fmla="*/ 2927729 w 6957336"/>
              <a:gd name="connsiteY7" fmla="*/ 1005108 h 6128746"/>
              <a:gd name="connsiteX8" fmla="*/ 2735074 w 6957336"/>
              <a:gd name="connsiteY8" fmla="*/ 53322 h 6128746"/>
              <a:gd name="connsiteX9" fmla="*/ 4719996 w 6957336"/>
              <a:gd name="connsiteY9" fmla="*/ 178764 h 6128746"/>
              <a:gd name="connsiteX10" fmla="*/ 5457247 w 6957336"/>
              <a:gd name="connsiteY10" fmla="*/ 731702 h 6128746"/>
              <a:gd name="connsiteX11" fmla="*/ 5620127 w 6957336"/>
              <a:gd name="connsiteY11" fmla="*/ 1192678 h 6128746"/>
              <a:gd name="connsiteX12" fmla="*/ 5820662 w 6957336"/>
              <a:gd name="connsiteY12" fmla="*/ 1509984 h 6128746"/>
              <a:gd name="connsiteX13" fmla="*/ 6519966 w 6957336"/>
              <a:gd name="connsiteY13" fmla="*/ 1557994 h 6128746"/>
              <a:gd name="connsiteX14" fmla="*/ 6858807 w 6957336"/>
              <a:gd name="connsiteY14" fmla="*/ 1801759 h 6128746"/>
              <a:gd name="connsiteX15" fmla="*/ 6957336 w 6957336"/>
              <a:gd name="connsiteY15" fmla="*/ 2587462 h 6128746"/>
              <a:gd name="connsiteX16" fmla="*/ 6826894 w 6957336"/>
              <a:gd name="connsiteY16" fmla="*/ 3456666 h 6128746"/>
              <a:gd name="connsiteX17" fmla="*/ 6472005 w 6957336"/>
              <a:gd name="connsiteY17" fmla="*/ 3928714 h 6128746"/>
              <a:gd name="connsiteX18" fmla="*/ 5914508 w 6957336"/>
              <a:gd name="connsiteY18" fmla="*/ 4204860 h 6128746"/>
              <a:gd name="connsiteX19" fmla="*/ 5505441 w 6957336"/>
              <a:gd name="connsiteY19" fmla="*/ 4393861 h 6128746"/>
              <a:gd name="connsiteX20" fmla="*/ 5212843 w 6957336"/>
              <a:gd name="connsiteY20" fmla="*/ 4693918 h 6128746"/>
              <a:gd name="connsiteX21" fmla="*/ 5021600 w 6957336"/>
              <a:gd name="connsiteY21" fmla="*/ 5313991 h 6128746"/>
              <a:gd name="connsiteX22" fmla="*/ 4449123 w 6957336"/>
              <a:gd name="connsiteY22" fmla="*/ 5646794 h 6128746"/>
              <a:gd name="connsiteX23" fmla="*/ 4007681 w 6957336"/>
              <a:gd name="connsiteY23" fmla="*/ 5614621 h 6128746"/>
              <a:gd name="connsiteX24" fmla="*/ 3548339 w 6957336"/>
              <a:gd name="connsiteY24" fmla="*/ 5351895 h 6128746"/>
              <a:gd name="connsiteX25" fmla="*/ 2939451 w 6957336"/>
              <a:gd name="connsiteY25" fmla="*/ 5644842 h 6128746"/>
              <a:gd name="connsiteX26" fmla="*/ 2485508 w 6957336"/>
              <a:gd name="connsiteY26" fmla="*/ 5863673 h 6128746"/>
              <a:gd name="connsiteX27" fmla="*/ 1774900 w 6957336"/>
              <a:gd name="connsiteY27" fmla="*/ 6072866 h 6128746"/>
              <a:gd name="connsiteX28" fmla="*/ 1014263 w 6957336"/>
              <a:gd name="connsiteY28" fmla="*/ 6110511 h 6128746"/>
              <a:gd name="connsiteX29" fmla="*/ 212534 w 6957336"/>
              <a:gd name="connsiteY29" fmla="*/ 5757516 h 6128746"/>
              <a:gd name="connsiteX30" fmla="*/ 49186 w 6957336"/>
              <a:gd name="connsiteY30" fmla="*/ 4216968 h 6128746"/>
              <a:gd name="connsiteX0" fmla="*/ 49186 w 6957336"/>
              <a:gd name="connsiteY0" fmla="*/ 4217392 h 6129170"/>
              <a:gd name="connsiteX1" fmla="*/ 588915 w 6957336"/>
              <a:gd name="connsiteY1" fmla="*/ 2618889 h 6129170"/>
              <a:gd name="connsiteX2" fmla="*/ 820830 w 6957336"/>
              <a:gd name="connsiteY2" fmla="*/ 2341312 h 6129170"/>
              <a:gd name="connsiteX3" fmla="*/ 1105382 w 6957336"/>
              <a:gd name="connsiteY3" fmla="*/ 2170155 h 6129170"/>
              <a:gd name="connsiteX4" fmla="*/ 2375382 w 6957336"/>
              <a:gd name="connsiteY4" fmla="*/ 1814556 h 6129170"/>
              <a:gd name="connsiteX5" fmla="*/ 2714048 w 6957336"/>
              <a:gd name="connsiteY5" fmla="*/ 1518223 h 6129170"/>
              <a:gd name="connsiteX6" fmla="*/ 2747913 w 6957336"/>
              <a:gd name="connsiteY6" fmla="*/ 1179557 h 6129170"/>
              <a:gd name="connsiteX7" fmla="*/ 2681545 w 6957336"/>
              <a:gd name="connsiteY7" fmla="*/ 1011393 h 6129170"/>
              <a:gd name="connsiteX8" fmla="*/ 2735074 w 6957336"/>
              <a:gd name="connsiteY8" fmla="*/ 53746 h 6129170"/>
              <a:gd name="connsiteX9" fmla="*/ 4719996 w 6957336"/>
              <a:gd name="connsiteY9" fmla="*/ 179188 h 6129170"/>
              <a:gd name="connsiteX10" fmla="*/ 5457247 w 6957336"/>
              <a:gd name="connsiteY10" fmla="*/ 732126 h 6129170"/>
              <a:gd name="connsiteX11" fmla="*/ 5620127 w 6957336"/>
              <a:gd name="connsiteY11" fmla="*/ 1193102 h 6129170"/>
              <a:gd name="connsiteX12" fmla="*/ 5820662 w 6957336"/>
              <a:gd name="connsiteY12" fmla="*/ 1510408 h 6129170"/>
              <a:gd name="connsiteX13" fmla="*/ 6519966 w 6957336"/>
              <a:gd name="connsiteY13" fmla="*/ 1558418 h 6129170"/>
              <a:gd name="connsiteX14" fmla="*/ 6858807 w 6957336"/>
              <a:gd name="connsiteY14" fmla="*/ 1802183 h 6129170"/>
              <a:gd name="connsiteX15" fmla="*/ 6957336 w 6957336"/>
              <a:gd name="connsiteY15" fmla="*/ 2587886 h 6129170"/>
              <a:gd name="connsiteX16" fmla="*/ 6826894 w 6957336"/>
              <a:gd name="connsiteY16" fmla="*/ 3457090 h 6129170"/>
              <a:gd name="connsiteX17" fmla="*/ 6472005 w 6957336"/>
              <a:gd name="connsiteY17" fmla="*/ 3929138 h 6129170"/>
              <a:gd name="connsiteX18" fmla="*/ 5914508 w 6957336"/>
              <a:gd name="connsiteY18" fmla="*/ 4205284 h 6129170"/>
              <a:gd name="connsiteX19" fmla="*/ 5505441 w 6957336"/>
              <a:gd name="connsiteY19" fmla="*/ 4394285 h 6129170"/>
              <a:gd name="connsiteX20" fmla="*/ 5212843 w 6957336"/>
              <a:gd name="connsiteY20" fmla="*/ 4694342 h 6129170"/>
              <a:gd name="connsiteX21" fmla="*/ 5021600 w 6957336"/>
              <a:gd name="connsiteY21" fmla="*/ 5314415 h 6129170"/>
              <a:gd name="connsiteX22" fmla="*/ 4449123 w 6957336"/>
              <a:gd name="connsiteY22" fmla="*/ 5647218 h 6129170"/>
              <a:gd name="connsiteX23" fmla="*/ 4007681 w 6957336"/>
              <a:gd name="connsiteY23" fmla="*/ 5615045 h 6129170"/>
              <a:gd name="connsiteX24" fmla="*/ 3548339 w 6957336"/>
              <a:gd name="connsiteY24" fmla="*/ 5352319 h 6129170"/>
              <a:gd name="connsiteX25" fmla="*/ 2939451 w 6957336"/>
              <a:gd name="connsiteY25" fmla="*/ 5645266 h 6129170"/>
              <a:gd name="connsiteX26" fmla="*/ 2485508 w 6957336"/>
              <a:gd name="connsiteY26" fmla="*/ 5864097 h 6129170"/>
              <a:gd name="connsiteX27" fmla="*/ 1774900 w 6957336"/>
              <a:gd name="connsiteY27" fmla="*/ 6073290 h 6129170"/>
              <a:gd name="connsiteX28" fmla="*/ 1014263 w 6957336"/>
              <a:gd name="connsiteY28" fmla="*/ 6110935 h 6129170"/>
              <a:gd name="connsiteX29" fmla="*/ 212534 w 6957336"/>
              <a:gd name="connsiteY29" fmla="*/ 5757940 h 6129170"/>
              <a:gd name="connsiteX30" fmla="*/ 49186 w 6957336"/>
              <a:gd name="connsiteY30" fmla="*/ 4217392 h 6129170"/>
              <a:gd name="connsiteX0" fmla="*/ 49186 w 6957336"/>
              <a:gd name="connsiteY0" fmla="*/ 4219939 h 6131717"/>
              <a:gd name="connsiteX1" fmla="*/ 588915 w 6957336"/>
              <a:gd name="connsiteY1" fmla="*/ 2621436 h 6131717"/>
              <a:gd name="connsiteX2" fmla="*/ 820830 w 6957336"/>
              <a:gd name="connsiteY2" fmla="*/ 2343859 h 6131717"/>
              <a:gd name="connsiteX3" fmla="*/ 1105382 w 6957336"/>
              <a:gd name="connsiteY3" fmla="*/ 2172702 h 6131717"/>
              <a:gd name="connsiteX4" fmla="*/ 2375382 w 6957336"/>
              <a:gd name="connsiteY4" fmla="*/ 1817103 h 6131717"/>
              <a:gd name="connsiteX5" fmla="*/ 2714048 w 6957336"/>
              <a:gd name="connsiteY5" fmla="*/ 1520770 h 6131717"/>
              <a:gd name="connsiteX6" fmla="*/ 2747913 w 6957336"/>
              <a:gd name="connsiteY6" fmla="*/ 1182104 h 6131717"/>
              <a:gd name="connsiteX7" fmla="*/ 2681545 w 6957336"/>
              <a:gd name="connsiteY7" fmla="*/ 1013940 h 6131717"/>
              <a:gd name="connsiteX8" fmla="*/ 2735074 w 6957336"/>
              <a:gd name="connsiteY8" fmla="*/ 56293 h 6131717"/>
              <a:gd name="connsiteX9" fmla="*/ 4719996 w 6957336"/>
              <a:gd name="connsiteY9" fmla="*/ 181735 h 6131717"/>
              <a:gd name="connsiteX10" fmla="*/ 5457247 w 6957336"/>
              <a:gd name="connsiteY10" fmla="*/ 734673 h 6131717"/>
              <a:gd name="connsiteX11" fmla="*/ 5620127 w 6957336"/>
              <a:gd name="connsiteY11" fmla="*/ 1195649 h 6131717"/>
              <a:gd name="connsiteX12" fmla="*/ 5820662 w 6957336"/>
              <a:gd name="connsiteY12" fmla="*/ 1512955 h 6131717"/>
              <a:gd name="connsiteX13" fmla="*/ 6519966 w 6957336"/>
              <a:gd name="connsiteY13" fmla="*/ 1560965 h 6131717"/>
              <a:gd name="connsiteX14" fmla="*/ 6858807 w 6957336"/>
              <a:gd name="connsiteY14" fmla="*/ 1804730 h 6131717"/>
              <a:gd name="connsiteX15" fmla="*/ 6957336 w 6957336"/>
              <a:gd name="connsiteY15" fmla="*/ 2590433 h 6131717"/>
              <a:gd name="connsiteX16" fmla="*/ 6826894 w 6957336"/>
              <a:gd name="connsiteY16" fmla="*/ 3459637 h 6131717"/>
              <a:gd name="connsiteX17" fmla="*/ 6472005 w 6957336"/>
              <a:gd name="connsiteY17" fmla="*/ 3931685 h 6131717"/>
              <a:gd name="connsiteX18" fmla="*/ 5914508 w 6957336"/>
              <a:gd name="connsiteY18" fmla="*/ 4207831 h 6131717"/>
              <a:gd name="connsiteX19" fmla="*/ 5505441 w 6957336"/>
              <a:gd name="connsiteY19" fmla="*/ 4396832 h 6131717"/>
              <a:gd name="connsiteX20" fmla="*/ 5212843 w 6957336"/>
              <a:gd name="connsiteY20" fmla="*/ 4696889 h 6131717"/>
              <a:gd name="connsiteX21" fmla="*/ 5021600 w 6957336"/>
              <a:gd name="connsiteY21" fmla="*/ 5316962 h 6131717"/>
              <a:gd name="connsiteX22" fmla="*/ 4449123 w 6957336"/>
              <a:gd name="connsiteY22" fmla="*/ 5649765 h 6131717"/>
              <a:gd name="connsiteX23" fmla="*/ 4007681 w 6957336"/>
              <a:gd name="connsiteY23" fmla="*/ 5617592 h 6131717"/>
              <a:gd name="connsiteX24" fmla="*/ 3548339 w 6957336"/>
              <a:gd name="connsiteY24" fmla="*/ 5354866 h 6131717"/>
              <a:gd name="connsiteX25" fmla="*/ 2939451 w 6957336"/>
              <a:gd name="connsiteY25" fmla="*/ 5647813 h 6131717"/>
              <a:gd name="connsiteX26" fmla="*/ 2485508 w 6957336"/>
              <a:gd name="connsiteY26" fmla="*/ 5866644 h 6131717"/>
              <a:gd name="connsiteX27" fmla="*/ 1774900 w 6957336"/>
              <a:gd name="connsiteY27" fmla="*/ 6075837 h 6131717"/>
              <a:gd name="connsiteX28" fmla="*/ 1014263 w 6957336"/>
              <a:gd name="connsiteY28" fmla="*/ 6113482 h 6131717"/>
              <a:gd name="connsiteX29" fmla="*/ 212534 w 6957336"/>
              <a:gd name="connsiteY29" fmla="*/ 5760487 h 6131717"/>
              <a:gd name="connsiteX30" fmla="*/ 49186 w 6957336"/>
              <a:gd name="connsiteY30" fmla="*/ 4219939 h 6131717"/>
              <a:gd name="connsiteX0" fmla="*/ 49186 w 6957336"/>
              <a:gd name="connsiteY0" fmla="*/ 4204724 h 6116502"/>
              <a:gd name="connsiteX1" fmla="*/ 588915 w 6957336"/>
              <a:gd name="connsiteY1" fmla="*/ 2606221 h 6116502"/>
              <a:gd name="connsiteX2" fmla="*/ 820830 w 6957336"/>
              <a:gd name="connsiteY2" fmla="*/ 2328644 h 6116502"/>
              <a:gd name="connsiteX3" fmla="*/ 1105382 w 6957336"/>
              <a:gd name="connsiteY3" fmla="*/ 2157487 h 6116502"/>
              <a:gd name="connsiteX4" fmla="*/ 2375382 w 6957336"/>
              <a:gd name="connsiteY4" fmla="*/ 1801888 h 6116502"/>
              <a:gd name="connsiteX5" fmla="*/ 2714048 w 6957336"/>
              <a:gd name="connsiteY5" fmla="*/ 1505555 h 6116502"/>
              <a:gd name="connsiteX6" fmla="*/ 2747913 w 6957336"/>
              <a:gd name="connsiteY6" fmla="*/ 1166889 h 6116502"/>
              <a:gd name="connsiteX7" fmla="*/ 2681545 w 6957336"/>
              <a:gd name="connsiteY7" fmla="*/ 998725 h 6116502"/>
              <a:gd name="connsiteX8" fmla="*/ 2735074 w 6957336"/>
              <a:gd name="connsiteY8" fmla="*/ 41078 h 6116502"/>
              <a:gd name="connsiteX9" fmla="*/ 4719996 w 6957336"/>
              <a:gd name="connsiteY9" fmla="*/ 166520 h 6116502"/>
              <a:gd name="connsiteX10" fmla="*/ 5457247 w 6957336"/>
              <a:gd name="connsiteY10" fmla="*/ 719458 h 6116502"/>
              <a:gd name="connsiteX11" fmla="*/ 5620127 w 6957336"/>
              <a:gd name="connsiteY11" fmla="*/ 1180434 h 6116502"/>
              <a:gd name="connsiteX12" fmla="*/ 5820662 w 6957336"/>
              <a:gd name="connsiteY12" fmla="*/ 1497740 h 6116502"/>
              <a:gd name="connsiteX13" fmla="*/ 6519966 w 6957336"/>
              <a:gd name="connsiteY13" fmla="*/ 1545750 h 6116502"/>
              <a:gd name="connsiteX14" fmla="*/ 6858807 w 6957336"/>
              <a:gd name="connsiteY14" fmla="*/ 1789515 h 6116502"/>
              <a:gd name="connsiteX15" fmla="*/ 6957336 w 6957336"/>
              <a:gd name="connsiteY15" fmla="*/ 2575218 h 6116502"/>
              <a:gd name="connsiteX16" fmla="*/ 6826894 w 6957336"/>
              <a:gd name="connsiteY16" fmla="*/ 3444422 h 6116502"/>
              <a:gd name="connsiteX17" fmla="*/ 6472005 w 6957336"/>
              <a:gd name="connsiteY17" fmla="*/ 3916470 h 6116502"/>
              <a:gd name="connsiteX18" fmla="*/ 5914508 w 6957336"/>
              <a:gd name="connsiteY18" fmla="*/ 4192616 h 6116502"/>
              <a:gd name="connsiteX19" fmla="*/ 5505441 w 6957336"/>
              <a:gd name="connsiteY19" fmla="*/ 4381617 h 6116502"/>
              <a:gd name="connsiteX20" fmla="*/ 5212843 w 6957336"/>
              <a:gd name="connsiteY20" fmla="*/ 4681674 h 6116502"/>
              <a:gd name="connsiteX21" fmla="*/ 5021600 w 6957336"/>
              <a:gd name="connsiteY21" fmla="*/ 5301747 h 6116502"/>
              <a:gd name="connsiteX22" fmla="*/ 4449123 w 6957336"/>
              <a:gd name="connsiteY22" fmla="*/ 5634550 h 6116502"/>
              <a:gd name="connsiteX23" fmla="*/ 4007681 w 6957336"/>
              <a:gd name="connsiteY23" fmla="*/ 5602377 h 6116502"/>
              <a:gd name="connsiteX24" fmla="*/ 3548339 w 6957336"/>
              <a:gd name="connsiteY24" fmla="*/ 5339651 h 6116502"/>
              <a:gd name="connsiteX25" fmla="*/ 2939451 w 6957336"/>
              <a:gd name="connsiteY25" fmla="*/ 5632598 h 6116502"/>
              <a:gd name="connsiteX26" fmla="*/ 2485508 w 6957336"/>
              <a:gd name="connsiteY26" fmla="*/ 5851429 h 6116502"/>
              <a:gd name="connsiteX27" fmla="*/ 1774900 w 6957336"/>
              <a:gd name="connsiteY27" fmla="*/ 6060622 h 6116502"/>
              <a:gd name="connsiteX28" fmla="*/ 1014263 w 6957336"/>
              <a:gd name="connsiteY28" fmla="*/ 6098267 h 6116502"/>
              <a:gd name="connsiteX29" fmla="*/ 212534 w 6957336"/>
              <a:gd name="connsiteY29" fmla="*/ 5745272 h 6116502"/>
              <a:gd name="connsiteX30" fmla="*/ 49186 w 6957336"/>
              <a:gd name="connsiteY30" fmla="*/ 4204724 h 6116502"/>
              <a:gd name="connsiteX0" fmla="*/ 49186 w 6957336"/>
              <a:gd name="connsiteY0" fmla="*/ 4204724 h 6116502"/>
              <a:gd name="connsiteX1" fmla="*/ 588915 w 6957336"/>
              <a:gd name="connsiteY1" fmla="*/ 2606221 h 6116502"/>
              <a:gd name="connsiteX2" fmla="*/ 820830 w 6957336"/>
              <a:gd name="connsiteY2" fmla="*/ 2328644 h 6116502"/>
              <a:gd name="connsiteX3" fmla="*/ 1105382 w 6957336"/>
              <a:gd name="connsiteY3" fmla="*/ 2157487 h 6116502"/>
              <a:gd name="connsiteX4" fmla="*/ 2035412 w 6957336"/>
              <a:gd name="connsiteY4" fmla="*/ 1889811 h 6116502"/>
              <a:gd name="connsiteX5" fmla="*/ 2714048 w 6957336"/>
              <a:gd name="connsiteY5" fmla="*/ 1505555 h 6116502"/>
              <a:gd name="connsiteX6" fmla="*/ 2747913 w 6957336"/>
              <a:gd name="connsiteY6" fmla="*/ 1166889 h 6116502"/>
              <a:gd name="connsiteX7" fmla="*/ 2681545 w 6957336"/>
              <a:gd name="connsiteY7" fmla="*/ 998725 h 6116502"/>
              <a:gd name="connsiteX8" fmla="*/ 2735074 w 6957336"/>
              <a:gd name="connsiteY8" fmla="*/ 41078 h 6116502"/>
              <a:gd name="connsiteX9" fmla="*/ 4719996 w 6957336"/>
              <a:gd name="connsiteY9" fmla="*/ 166520 h 6116502"/>
              <a:gd name="connsiteX10" fmla="*/ 5457247 w 6957336"/>
              <a:gd name="connsiteY10" fmla="*/ 719458 h 6116502"/>
              <a:gd name="connsiteX11" fmla="*/ 5620127 w 6957336"/>
              <a:gd name="connsiteY11" fmla="*/ 1180434 h 6116502"/>
              <a:gd name="connsiteX12" fmla="*/ 5820662 w 6957336"/>
              <a:gd name="connsiteY12" fmla="*/ 1497740 h 6116502"/>
              <a:gd name="connsiteX13" fmla="*/ 6519966 w 6957336"/>
              <a:gd name="connsiteY13" fmla="*/ 1545750 h 6116502"/>
              <a:gd name="connsiteX14" fmla="*/ 6858807 w 6957336"/>
              <a:gd name="connsiteY14" fmla="*/ 1789515 h 6116502"/>
              <a:gd name="connsiteX15" fmla="*/ 6957336 w 6957336"/>
              <a:gd name="connsiteY15" fmla="*/ 2575218 h 6116502"/>
              <a:gd name="connsiteX16" fmla="*/ 6826894 w 6957336"/>
              <a:gd name="connsiteY16" fmla="*/ 3444422 h 6116502"/>
              <a:gd name="connsiteX17" fmla="*/ 6472005 w 6957336"/>
              <a:gd name="connsiteY17" fmla="*/ 3916470 h 6116502"/>
              <a:gd name="connsiteX18" fmla="*/ 5914508 w 6957336"/>
              <a:gd name="connsiteY18" fmla="*/ 4192616 h 6116502"/>
              <a:gd name="connsiteX19" fmla="*/ 5505441 w 6957336"/>
              <a:gd name="connsiteY19" fmla="*/ 4381617 h 6116502"/>
              <a:gd name="connsiteX20" fmla="*/ 5212843 w 6957336"/>
              <a:gd name="connsiteY20" fmla="*/ 4681674 h 6116502"/>
              <a:gd name="connsiteX21" fmla="*/ 5021600 w 6957336"/>
              <a:gd name="connsiteY21" fmla="*/ 5301747 h 6116502"/>
              <a:gd name="connsiteX22" fmla="*/ 4449123 w 6957336"/>
              <a:gd name="connsiteY22" fmla="*/ 5634550 h 6116502"/>
              <a:gd name="connsiteX23" fmla="*/ 4007681 w 6957336"/>
              <a:gd name="connsiteY23" fmla="*/ 5602377 h 6116502"/>
              <a:gd name="connsiteX24" fmla="*/ 3548339 w 6957336"/>
              <a:gd name="connsiteY24" fmla="*/ 5339651 h 6116502"/>
              <a:gd name="connsiteX25" fmla="*/ 2939451 w 6957336"/>
              <a:gd name="connsiteY25" fmla="*/ 5632598 h 6116502"/>
              <a:gd name="connsiteX26" fmla="*/ 2485508 w 6957336"/>
              <a:gd name="connsiteY26" fmla="*/ 5851429 h 6116502"/>
              <a:gd name="connsiteX27" fmla="*/ 1774900 w 6957336"/>
              <a:gd name="connsiteY27" fmla="*/ 6060622 h 6116502"/>
              <a:gd name="connsiteX28" fmla="*/ 1014263 w 6957336"/>
              <a:gd name="connsiteY28" fmla="*/ 6098267 h 6116502"/>
              <a:gd name="connsiteX29" fmla="*/ 212534 w 6957336"/>
              <a:gd name="connsiteY29" fmla="*/ 5745272 h 6116502"/>
              <a:gd name="connsiteX30" fmla="*/ 49186 w 6957336"/>
              <a:gd name="connsiteY30" fmla="*/ 4204724 h 6116502"/>
              <a:gd name="connsiteX0" fmla="*/ 49186 w 6957336"/>
              <a:gd name="connsiteY0" fmla="*/ 4204724 h 6116502"/>
              <a:gd name="connsiteX1" fmla="*/ 588915 w 6957336"/>
              <a:gd name="connsiteY1" fmla="*/ 2606221 h 6116502"/>
              <a:gd name="connsiteX2" fmla="*/ 820830 w 6957336"/>
              <a:gd name="connsiteY2" fmla="*/ 2328644 h 6116502"/>
              <a:gd name="connsiteX3" fmla="*/ 1105382 w 6957336"/>
              <a:gd name="connsiteY3" fmla="*/ 2157487 h 6116502"/>
              <a:gd name="connsiteX4" fmla="*/ 2035412 w 6957336"/>
              <a:gd name="connsiteY4" fmla="*/ 1889811 h 6116502"/>
              <a:gd name="connsiteX5" fmla="*/ 2714048 w 6957336"/>
              <a:gd name="connsiteY5" fmla="*/ 1505555 h 6116502"/>
              <a:gd name="connsiteX6" fmla="*/ 2724467 w 6957336"/>
              <a:gd name="connsiteY6" fmla="*/ 1348596 h 6116502"/>
              <a:gd name="connsiteX7" fmla="*/ 2681545 w 6957336"/>
              <a:gd name="connsiteY7" fmla="*/ 998725 h 6116502"/>
              <a:gd name="connsiteX8" fmla="*/ 2735074 w 6957336"/>
              <a:gd name="connsiteY8" fmla="*/ 41078 h 6116502"/>
              <a:gd name="connsiteX9" fmla="*/ 4719996 w 6957336"/>
              <a:gd name="connsiteY9" fmla="*/ 166520 h 6116502"/>
              <a:gd name="connsiteX10" fmla="*/ 5457247 w 6957336"/>
              <a:gd name="connsiteY10" fmla="*/ 719458 h 6116502"/>
              <a:gd name="connsiteX11" fmla="*/ 5620127 w 6957336"/>
              <a:gd name="connsiteY11" fmla="*/ 1180434 h 6116502"/>
              <a:gd name="connsiteX12" fmla="*/ 5820662 w 6957336"/>
              <a:gd name="connsiteY12" fmla="*/ 1497740 h 6116502"/>
              <a:gd name="connsiteX13" fmla="*/ 6519966 w 6957336"/>
              <a:gd name="connsiteY13" fmla="*/ 1545750 h 6116502"/>
              <a:gd name="connsiteX14" fmla="*/ 6858807 w 6957336"/>
              <a:gd name="connsiteY14" fmla="*/ 1789515 h 6116502"/>
              <a:gd name="connsiteX15" fmla="*/ 6957336 w 6957336"/>
              <a:gd name="connsiteY15" fmla="*/ 2575218 h 6116502"/>
              <a:gd name="connsiteX16" fmla="*/ 6826894 w 6957336"/>
              <a:gd name="connsiteY16" fmla="*/ 3444422 h 6116502"/>
              <a:gd name="connsiteX17" fmla="*/ 6472005 w 6957336"/>
              <a:gd name="connsiteY17" fmla="*/ 3916470 h 6116502"/>
              <a:gd name="connsiteX18" fmla="*/ 5914508 w 6957336"/>
              <a:gd name="connsiteY18" fmla="*/ 4192616 h 6116502"/>
              <a:gd name="connsiteX19" fmla="*/ 5505441 w 6957336"/>
              <a:gd name="connsiteY19" fmla="*/ 4381617 h 6116502"/>
              <a:gd name="connsiteX20" fmla="*/ 5212843 w 6957336"/>
              <a:gd name="connsiteY20" fmla="*/ 4681674 h 6116502"/>
              <a:gd name="connsiteX21" fmla="*/ 5021600 w 6957336"/>
              <a:gd name="connsiteY21" fmla="*/ 5301747 h 6116502"/>
              <a:gd name="connsiteX22" fmla="*/ 4449123 w 6957336"/>
              <a:gd name="connsiteY22" fmla="*/ 5634550 h 6116502"/>
              <a:gd name="connsiteX23" fmla="*/ 4007681 w 6957336"/>
              <a:gd name="connsiteY23" fmla="*/ 5602377 h 6116502"/>
              <a:gd name="connsiteX24" fmla="*/ 3548339 w 6957336"/>
              <a:gd name="connsiteY24" fmla="*/ 5339651 h 6116502"/>
              <a:gd name="connsiteX25" fmla="*/ 2939451 w 6957336"/>
              <a:gd name="connsiteY25" fmla="*/ 5632598 h 6116502"/>
              <a:gd name="connsiteX26" fmla="*/ 2485508 w 6957336"/>
              <a:gd name="connsiteY26" fmla="*/ 5851429 h 6116502"/>
              <a:gd name="connsiteX27" fmla="*/ 1774900 w 6957336"/>
              <a:gd name="connsiteY27" fmla="*/ 6060622 h 6116502"/>
              <a:gd name="connsiteX28" fmla="*/ 1014263 w 6957336"/>
              <a:gd name="connsiteY28" fmla="*/ 6098267 h 6116502"/>
              <a:gd name="connsiteX29" fmla="*/ 212534 w 6957336"/>
              <a:gd name="connsiteY29" fmla="*/ 5745272 h 6116502"/>
              <a:gd name="connsiteX30" fmla="*/ 49186 w 6957336"/>
              <a:gd name="connsiteY30" fmla="*/ 4204724 h 6116502"/>
              <a:gd name="connsiteX0" fmla="*/ 49186 w 6957336"/>
              <a:gd name="connsiteY0" fmla="*/ 4204724 h 6116502"/>
              <a:gd name="connsiteX1" fmla="*/ 588915 w 6957336"/>
              <a:gd name="connsiteY1" fmla="*/ 2606221 h 6116502"/>
              <a:gd name="connsiteX2" fmla="*/ 820830 w 6957336"/>
              <a:gd name="connsiteY2" fmla="*/ 2328644 h 6116502"/>
              <a:gd name="connsiteX3" fmla="*/ 1105382 w 6957336"/>
              <a:gd name="connsiteY3" fmla="*/ 2157487 h 6116502"/>
              <a:gd name="connsiteX4" fmla="*/ 2035412 w 6957336"/>
              <a:gd name="connsiteY4" fmla="*/ 1889811 h 6116502"/>
              <a:gd name="connsiteX5" fmla="*/ 2526479 w 6957336"/>
              <a:gd name="connsiteY5" fmla="*/ 1675540 h 6116502"/>
              <a:gd name="connsiteX6" fmla="*/ 2724467 w 6957336"/>
              <a:gd name="connsiteY6" fmla="*/ 1348596 h 6116502"/>
              <a:gd name="connsiteX7" fmla="*/ 2681545 w 6957336"/>
              <a:gd name="connsiteY7" fmla="*/ 998725 h 6116502"/>
              <a:gd name="connsiteX8" fmla="*/ 2735074 w 6957336"/>
              <a:gd name="connsiteY8" fmla="*/ 41078 h 6116502"/>
              <a:gd name="connsiteX9" fmla="*/ 4719996 w 6957336"/>
              <a:gd name="connsiteY9" fmla="*/ 166520 h 6116502"/>
              <a:gd name="connsiteX10" fmla="*/ 5457247 w 6957336"/>
              <a:gd name="connsiteY10" fmla="*/ 719458 h 6116502"/>
              <a:gd name="connsiteX11" fmla="*/ 5620127 w 6957336"/>
              <a:gd name="connsiteY11" fmla="*/ 1180434 h 6116502"/>
              <a:gd name="connsiteX12" fmla="*/ 5820662 w 6957336"/>
              <a:gd name="connsiteY12" fmla="*/ 1497740 h 6116502"/>
              <a:gd name="connsiteX13" fmla="*/ 6519966 w 6957336"/>
              <a:gd name="connsiteY13" fmla="*/ 1545750 h 6116502"/>
              <a:gd name="connsiteX14" fmla="*/ 6858807 w 6957336"/>
              <a:gd name="connsiteY14" fmla="*/ 1789515 h 6116502"/>
              <a:gd name="connsiteX15" fmla="*/ 6957336 w 6957336"/>
              <a:gd name="connsiteY15" fmla="*/ 2575218 h 6116502"/>
              <a:gd name="connsiteX16" fmla="*/ 6826894 w 6957336"/>
              <a:gd name="connsiteY16" fmla="*/ 3444422 h 6116502"/>
              <a:gd name="connsiteX17" fmla="*/ 6472005 w 6957336"/>
              <a:gd name="connsiteY17" fmla="*/ 3916470 h 6116502"/>
              <a:gd name="connsiteX18" fmla="*/ 5914508 w 6957336"/>
              <a:gd name="connsiteY18" fmla="*/ 4192616 h 6116502"/>
              <a:gd name="connsiteX19" fmla="*/ 5505441 w 6957336"/>
              <a:gd name="connsiteY19" fmla="*/ 4381617 h 6116502"/>
              <a:gd name="connsiteX20" fmla="*/ 5212843 w 6957336"/>
              <a:gd name="connsiteY20" fmla="*/ 4681674 h 6116502"/>
              <a:gd name="connsiteX21" fmla="*/ 5021600 w 6957336"/>
              <a:gd name="connsiteY21" fmla="*/ 5301747 h 6116502"/>
              <a:gd name="connsiteX22" fmla="*/ 4449123 w 6957336"/>
              <a:gd name="connsiteY22" fmla="*/ 5634550 h 6116502"/>
              <a:gd name="connsiteX23" fmla="*/ 4007681 w 6957336"/>
              <a:gd name="connsiteY23" fmla="*/ 5602377 h 6116502"/>
              <a:gd name="connsiteX24" fmla="*/ 3548339 w 6957336"/>
              <a:gd name="connsiteY24" fmla="*/ 5339651 h 6116502"/>
              <a:gd name="connsiteX25" fmla="*/ 2939451 w 6957336"/>
              <a:gd name="connsiteY25" fmla="*/ 5632598 h 6116502"/>
              <a:gd name="connsiteX26" fmla="*/ 2485508 w 6957336"/>
              <a:gd name="connsiteY26" fmla="*/ 5851429 h 6116502"/>
              <a:gd name="connsiteX27" fmla="*/ 1774900 w 6957336"/>
              <a:gd name="connsiteY27" fmla="*/ 6060622 h 6116502"/>
              <a:gd name="connsiteX28" fmla="*/ 1014263 w 6957336"/>
              <a:gd name="connsiteY28" fmla="*/ 6098267 h 6116502"/>
              <a:gd name="connsiteX29" fmla="*/ 212534 w 6957336"/>
              <a:gd name="connsiteY29" fmla="*/ 5745272 h 6116502"/>
              <a:gd name="connsiteX30" fmla="*/ 49186 w 6957336"/>
              <a:gd name="connsiteY30" fmla="*/ 4204724 h 6116502"/>
              <a:gd name="connsiteX0" fmla="*/ 49186 w 6957336"/>
              <a:gd name="connsiteY0" fmla="*/ 4204724 h 6116502"/>
              <a:gd name="connsiteX1" fmla="*/ 588915 w 6957336"/>
              <a:gd name="connsiteY1" fmla="*/ 2606221 h 6116502"/>
              <a:gd name="connsiteX2" fmla="*/ 820830 w 6957336"/>
              <a:gd name="connsiteY2" fmla="*/ 2328644 h 6116502"/>
              <a:gd name="connsiteX3" fmla="*/ 1105382 w 6957336"/>
              <a:gd name="connsiteY3" fmla="*/ 2157487 h 6116502"/>
              <a:gd name="connsiteX4" fmla="*/ 2035412 w 6957336"/>
              <a:gd name="connsiteY4" fmla="*/ 1889811 h 6116502"/>
              <a:gd name="connsiteX5" fmla="*/ 2526479 w 6957336"/>
              <a:gd name="connsiteY5" fmla="*/ 1675540 h 6116502"/>
              <a:gd name="connsiteX6" fmla="*/ 2794805 w 6957336"/>
              <a:gd name="connsiteY6" fmla="*/ 1354458 h 6116502"/>
              <a:gd name="connsiteX7" fmla="*/ 2681545 w 6957336"/>
              <a:gd name="connsiteY7" fmla="*/ 998725 h 6116502"/>
              <a:gd name="connsiteX8" fmla="*/ 2735074 w 6957336"/>
              <a:gd name="connsiteY8" fmla="*/ 41078 h 6116502"/>
              <a:gd name="connsiteX9" fmla="*/ 4719996 w 6957336"/>
              <a:gd name="connsiteY9" fmla="*/ 166520 h 6116502"/>
              <a:gd name="connsiteX10" fmla="*/ 5457247 w 6957336"/>
              <a:gd name="connsiteY10" fmla="*/ 719458 h 6116502"/>
              <a:gd name="connsiteX11" fmla="*/ 5620127 w 6957336"/>
              <a:gd name="connsiteY11" fmla="*/ 1180434 h 6116502"/>
              <a:gd name="connsiteX12" fmla="*/ 5820662 w 6957336"/>
              <a:gd name="connsiteY12" fmla="*/ 1497740 h 6116502"/>
              <a:gd name="connsiteX13" fmla="*/ 6519966 w 6957336"/>
              <a:gd name="connsiteY13" fmla="*/ 1545750 h 6116502"/>
              <a:gd name="connsiteX14" fmla="*/ 6858807 w 6957336"/>
              <a:gd name="connsiteY14" fmla="*/ 1789515 h 6116502"/>
              <a:gd name="connsiteX15" fmla="*/ 6957336 w 6957336"/>
              <a:gd name="connsiteY15" fmla="*/ 2575218 h 6116502"/>
              <a:gd name="connsiteX16" fmla="*/ 6826894 w 6957336"/>
              <a:gd name="connsiteY16" fmla="*/ 3444422 h 6116502"/>
              <a:gd name="connsiteX17" fmla="*/ 6472005 w 6957336"/>
              <a:gd name="connsiteY17" fmla="*/ 3916470 h 6116502"/>
              <a:gd name="connsiteX18" fmla="*/ 5914508 w 6957336"/>
              <a:gd name="connsiteY18" fmla="*/ 4192616 h 6116502"/>
              <a:gd name="connsiteX19" fmla="*/ 5505441 w 6957336"/>
              <a:gd name="connsiteY19" fmla="*/ 4381617 h 6116502"/>
              <a:gd name="connsiteX20" fmla="*/ 5212843 w 6957336"/>
              <a:gd name="connsiteY20" fmla="*/ 4681674 h 6116502"/>
              <a:gd name="connsiteX21" fmla="*/ 5021600 w 6957336"/>
              <a:gd name="connsiteY21" fmla="*/ 5301747 h 6116502"/>
              <a:gd name="connsiteX22" fmla="*/ 4449123 w 6957336"/>
              <a:gd name="connsiteY22" fmla="*/ 5634550 h 6116502"/>
              <a:gd name="connsiteX23" fmla="*/ 4007681 w 6957336"/>
              <a:gd name="connsiteY23" fmla="*/ 5602377 h 6116502"/>
              <a:gd name="connsiteX24" fmla="*/ 3548339 w 6957336"/>
              <a:gd name="connsiteY24" fmla="*/ 5339651 h 6116502"/>
              <a:gd name="connsiteX25" fmla="*/ 2939451 w 6957336"/>
              <a:gd name="connsiteY25" fmla="*/ 5632598 h 6116502"/>
              <a:gd name="connsiteX26" fmla="*/ 2485508 w 6957336"/>
              <a:gd name="connsiteY26" fmla="*/ 5851429 h 6116502"/>
              <a:gd name="connsiteX27" fmla="*/ 1774900 w 6957336"/>
              <a:gd name="connsiteY27" fmla="*/ 6060622 h 6116502"/>
              <a:gd name="connsiteX28" fmla="*/ 1014263 w 6957336"/>
              <a:gd name="connsiteY28" fmla="*/ 6098267 h 6116502"/>
              <a:gd name="connsiteX29" fmla="*/ 212534 w 6957336"/>
              <a:gd name="connsiteY29" fmla="*/ 5745272 h 6116502"/>
              <a:gd name="connsiteX30" fmla="*/ 49186 w 6957336"/>
              <a:gd name="connsiteY30" fmla="*/ 4204724 h 6116502"/>
              <a:gd name="connsiteX0" fmla="*/ 49186 w 6957336"/>
              <a:gd name="connsiteY0" fmla="*/ 4204724 h 6116502"/>
              <a:gd name="connsiteX1" fmla="*/ 588915 w 6957336"/>
              <a:gd name="connsiteY1" fmla="*/ 2606221 h 6116502"/>
              <a:gd name="connsiteX2" fmla="*/ 820830 w 6957336"/>
              <a:gd name="connsiteY2" fmla="*/ 2328644 h 6116502"/>
              <a:gd name="connsiteX3" fmla="*/ 1105382 w 6957336"/>
              <a:gd name="connsiteY3" fmla="*/ 2157487 h 6116502"/>
              <a:gd name="connsiteX4" fmla="*/ 2035412 w 6957336"/>
              <a:gd name="connsiteY4" fmla="*/ 1889811 h 6116502"/>
              <a:gd name="connsiteX5" fmla="*/ 2526479 w 6957336"/>
              <a:gd name="connsiteY5" fmla="*/ 1675540 h 6116502"/>
              <a:gd name="connsiteX6" fmla="*/ 2718605 w 6957336"/>
              <a:gd name="connsiteY6" fmla="*/ 1366181 h 6116502"/>
              <a:gd name="connsiteX7" fmla="*/ 2681545 w 6957336"/>
              <a:gd name="connsiteY7" fmla="*/ 998725 h 6116502"/>
              <a:gd name="connsiteX8" fmla="*/ 2735074 w 6957336"/>
              <a:gd name="connsiteY8" fmla="*/ 41078 h 6116502"/>
              <a:gd name="connsiteX9" fmla="*/ 4719996 w 6957336"/>
              <a:gd name="connsiteY9" fmla="*/ 166520 h 6116502"/>
              <a:gd name="connsiteX10" fmla="*/ 5457247 w 6957336"/>
              <a:gd name="connsiteY10" fmla="*/ 719458 h 6116502"/>
              <a:gd name="connsiteX11" fmla="*/ 5620127 w 6957336"/>
              <a:gd name="connsiteY11" fmla="*/ 1180434 h 6116502"/>
              <a:gd name="connsiteX12" fmla="*/ 5820662 w 6957336"/>
              <a:gd name="connsiteY12" fmla="*/ 1497740 h 6116502"/>
              <a:gd name="connsiteX13" fmla="*/ 6519966 w 6957336"/>
              <a:gd name="connsiteY13" fmla="*/ 1545750 h 6116502"/>
              <a:gd name="connsiteX14" fmla="*/ 6858807 w 6957336"/>
              <a:gd name="connsiteY14" fmla="*/ 1789515 h 6116502"/>
              <a:gd name="connsiteX15" fmla="*/ 6957336 w 6957336"/>
              <a:gd name="connsiteY15" fmla="*/ 2575218 h 6116502"/>
              <a:gd name="connsiteX16" fmla="*/ 6826894 w 6957336"/>
              <a:gd name="connsiteY16" fmla="*/ 3444422 h 6116502"/>
              <a:gd name="connsiteX17" fmla="*/ 6472005 w 6957336"/>
              <a:gd name="connsiteY17" fmla="*/ 3916470 h 6116502"/>
              <a:gd name="connsiteX18" fmla="*/ 5914508 w 6957336"/>
              <a:gd name="connsiteY18" fmla="*/ 4192616 h 6116502"/>
              <a:gd name="connsiteX19" fmla="*/ 5505441 w 6957336"/>
              <a:gd name="connsiteY19" fmla="*/ 4381617 h 6116502"/>
              <a:gd name="connsiteX20" fmla="*/ 5212843 w 6957336"/>
              <a:gd name="connsiteY20" fmla="*/ 4681674 h 6116502"/>
              <a:gd name="connsiteX21" fmla="*/ 5021600 w 6957336"/>
              <a:gd name="connsiteY21" fmla="*/ 5301747 h 6116502"/>
              <a:gd name="connsiteX22" fmla="*/ 4449123 w 6957336"/>
              <a:gd name="connsiteY22" fmla="*/ 5634550 h 6116502"/>
              <a:gd name="connsiteX23" fmla="*/ 4007681 w 6957336"/>
              <a:gd name="connsiteY23" fmla="*/ 5602377 h 6116502"/>
              <a:gd name="connsiteX24" fmla="*/ 3548339 w 6957336"/>
              <a:gd name="connsiteY24" fmla="*/ 5339651 h 6116502"/>
              <a:gd name="connsiteX25" fmla="*/ 2939451 w 6957336"/>
              <a:gd name="connsiteY25" fmla="*/ 5632598 h 6116502"/>
              <a:gd name="connsiteX26" fmla="*/ 2485508 w 6957336"/>
              <a:gd name="connsiteY26" fmla="*/ 5851429 h 6116502"/>
              <a:gd name="connsiteX27" fmla="*/ 1774900 w 6957336"/>
              <a:gd name="connsiteY27" fmla="*/ 6060622 h 6116502"/>
              <a:gd name="connsiteX28" fmla="*/ 1014263 w 6957336"/>
              <a:gd name="connsiteY28" fmla="*/ 6098267 h 6116502"/>
              <a:gd name="connsiteX29" fmla="*/ 212534 w 6957336"/>
              <a:gd name="connsiteY29" fmla="*/ 5745272 h 6116502"/>
              <a:gd name="connsiteX30" fmla="*/ 49186 w 6957336"/>
              <a:gd name="connsiteY30" fmla="*/ 4204724 h 6116502"/>
              <a:gd name="connsiteX0" fmla="*/ 29763 w 6937913"/>
              <a:gd name="connsiteY0" fmla="*/ 4204724 h 6116502"/>
              <a:gd name="connsiteX1" fmla="*/ 294000 w 6937913"/>
              <a:gd name="connsiteY1" fmla="*/ 2975498 h 6116502"/>
              <a:gd name="connsiteX2" fmla="*/ 801407 w 6937913"/>
              <a:gd name="connsiteY2" fmla="*/ 2328644 h 6116502"/>
              <a:gd name="connsiteX3" fmla="*/ 1085959 w 6937913"/>
              <a:gd name="connsiteY3" fmla="*/ 2157487 h 6116502"/>
              <a:gd name="connsiteX4" fmla="*/ 2015989 w 6937913"/>
              <a:gd name="connsiteY4" fmla="*/ 1889811 h 6116502"/>
              <a:gd name="connsiteX5" fmla="*/ 2507056 w 6937913"/>
              <a:gd name="connsiteY5" fmla="*/ 1675540 h 6116502"/>
              <a:gd name="connsiteX6" fmla="*/ 2699182 w 6937913"/>
              <a:gd name="connsiteY6" fmla="*/ 1366181 h 6116502"/>
              <a:gd name="connsiteX7" fmla="*/ 2662122 w 6937913"/>
              <a:gd name="connsiteY7" fmla="*/ 998725 h 6116502"/>
              <a:gd name="connsiteX8" fmla="*/ 2715651 w 6937913"/>
              <a:gd name="connsiteY8" fmla="*/ 41078 h 6116502"/>
              <a:gd name="connsiteX9" fmla="*/ 4700573 w 6937913"/>
              <a:gd name="connsiteY9" fmla="*/ 166520 h 6116502"/>
              <a:gd name="connsiteX10" fmla="*/ 5437824 w 6937913"/>
              <a:gd name="connsiteY10" fmla="*/ 719458 h 6116502"/>
              <a:gd name="connsiteX11" fmla="*/ 5600704 w 6937913"/>
              <a:gd name="connsiteY11" fmla="*/ 1180434 h 6116502"/>
              <a:gd name="connsiteX12" fmla="*/ 5801239 w 6937913"/>
              <a:gd name="connsiteY12" fmla="*/ 1497740 h 6116502"/>
              <a:gd name="connsiteX13" fmla="*/ 6500543 w 6937913"/>
              <a:gd name="connsiteY13" fmla="*/ 1545750 h 6116502"/>
              <a:gd name="connsiteX14" fmla="*/ 6839384 w 6937913"/>
              <a:gd name="connsiteY14" fmla="*/ 1789515 h 6116502"/>
              <a:gd name="connsiteX15" fmla="*/ 6937913 w 6937913"/>
              <a:gd name="connsiteY15" fmla="*/ 2575218 h 6116502"/>
              <a:gd name="connsiteX16" fmla="*/ 6807471 w 6937913"/>
              <a:gd name="connsiteY16" fmla="*/ 3444422 h 6116502"/>
              <a:gd name="connsiteX17" fmla="*/ 6452582 w 6937913"/>
              <a:gd name="connsiteY17" fmla="*/ 3916470 h 6116502"/>
              <a:gd name="connsiteX18" fmla="*/ 5895085 w 6937913"/>
              <a:gd name="connsiteY18" fmla="*/ 4192616 h 6116502"/>
              <a:gd name="connsiteX19" fmla="*/ 5486018 w 6937913"/>
              <a:gd name="connsiteY19" fmla="*/ 4381617 h 6116502"/>
              <a:gd name="connsiteX20" fmla="*/ 5193420 w 6937913"/>
              <a:gd name="connsiteY20" fmla="*/ 4681674 h 6116502"/>
              <a:gd name="connsiteX21" fmla="*/ 5002177 w 6937913"/>
              <a:gd name="connsiteY21" fmla="*/ 5301747 h 6116502"/>
              <a:gd name="connsiteX22" fmla="*/ 4429700 w 6937913"/>
              <a:gd name="connsiteY22" fmla="*/ 5634550 h 6116502"/>
              <a:gd name="connsiteX23" fmla="*/ 3988258 w 6937913"/>
              <a:gd name="connsiteY23" fmla="*/ 5602377 h 6116502"/>
              <a:gd name="connsiteX24" fmla="*/ 3528916 w 6937913"/>
              <a:gd name="connsiteY24" fmla="*/ 5339651 h 6116502"/>
              <a:gd name="connsiteX25" fmla="*/ 2920028 w 6937913"/>
              <a:gd name="connsiteY25" fmla="*/ 5632598 h 6116502"/>
              <a:gd name="connsiteX26" fmla="*/ 2466085 w 6937913"/>
              <a:gd name="connsiteY26" fmla="*/ 5851429 h 6116502"/>
              <a:gd name="connsiteX27" fmla="*/ 1755477 w 6937913"/>
              <a:gd name="connsiteY27" fmla="*/ 6060622 h 6116502"/>
              <a:gd name="connsiteX28" fmla="*/ 994840 w 6937913"/>
              <a:gd name="connsiteY28" fmla="*/ 6098267 h 6116502"/>
              <a:gd name="connsiteX29" fmla="*/ 193111 w 6937913"/>
              <a:gd name="connsiteY29" fmla="*/ 5745272 h 6116502"/>
              <a:gd name="connsiteX30" fmla="*/ 29763 w 6937913"/>
              <a:gd name="connsiteY30" fmla="*/ 4204724 h 6116502"/>
              <a:gd name="connsiteX0" fmla="*/ 29763 w 6937913"/>
              <a:gd name="connsiteY0" fmla="*/ 4204724 h 6116502"/>
              <a:gd name="connsiteX1" fmla="*/ 294000 w 6937913"/>
              <a:gd name="connsiteY1" fmla="*/ 2975498 h 6116502"/>
              <a:gd name="connsiteX2" fmla="*/ 801407 w 6937913"/>
              <a:gd name="connsiteY2" fmla="*/ 2328644 h 6116502"/>
              <a:gd name="connsiteX3" fmla="*/ 1085959 w 6937913"/>
              <a:gd name="connsiteY3" fmla="*/ 2157487 h 6116502"/>
              <a:gd name="connsiteX4" fmla="*/ 2015989 w 6937913"/>
              <a:gd name="connsiteY4" fmla="*/ 1895672 h 6116502"/>
              <a:gd name="connsiteX5" fmla="*/ 2507056 w 6937913"/>
              <a:gd name="connsiteY5" fmla="*/ 1675540 h 6116502"/>
              <a:gd name="connsiteX6" fmla="*/ 2699182 w 6937913"/>
              <a:gd name="connsiteY6" fmla="*/ 1366181 h 6116502"/>
              <a:gd name="connsiteX7" fmla="*/ 2662122 w 6937913"/>
              <a:gd name="connsiteY7" fmla="*/ 998725 h 6116502"/>
              <a:gd name="connsiteX8" fmla="*/ 2715651 w 6937913"/>
              <a:gd name="connsiteY8" fmla="*/ 41078 h 6116502"/>
              <a:gd name="connsiteX9" fmla="*/ 4700573 w 6937913"/>
              <a:gd name="connsiteY9" fmla="*/ 166520 h 6116502"/>
              <a:gd name="connsiteX10" fmla="*/ 5437824 w 6937913"/>
              <a:gd name="connsiteY10" fmla="*/ 719458 h 6116502"/>
              <a:gd name="connsiteX11" fmla="*/ 5600704 w 6937913"/>
              <a:gd name="connsiteY11" fmla="*/ 1180434 h 6116502"/>
              <a:gd name="connsiteX12" fmla="*/ 5801239 w 6937913"/>
              <a:gd name="connsiteY12" fmla="*/ 1497740 h 6116502"/>
              <a:gd name="connsiteX13" fmla="*/ 6500543 w 6937913"/>
              <a:gd name="connsiteY13" fmla="*/ 1545750 h 6116502"/>
              <a:gd name="connsiteX14" fmla="*/ 6839384 w 6937913"/>
              <a:gd name="connsiteY14" fmla="*/ 1789515 h 6116502"/>
              <a:gd name="connsiteX15" fmla="*/ 6937913 w 6937913"/>
              <a:gd name="connsiteY15" fmla="*/ 2575218 h 6116502"/>
              <a:gd name="connsiteX16" fmla="*/ 6807471 w 6937913"/>
              <a:gd name="connsiteY16" fmla="*/ 3444422 h 6116502"/>
              <a:gd name="connsiteX17" fmla="*/ 6452582 w 6937913"/>
              <a:gd name="connsiteY17" fmla="*/ 3916470 h 6116502"/>
              <a:gd name="connsiteX18" fmla="*/ 5895085 w 6937913"/>
              <a:gd name="connsiteY18" fmla="*/ 4192616 h 6116502"/>
              <a:gd name="connsiteX19" fmla="*/ 5486018 w 6937913"/>
              <a:gd name="connsiteY19" fmla="*/ 4381617 h 6116502"/>
              <a:gd name="connsiteX20" fmla="*/ 5193420 w 6937913"/>
              <a:gd name="connsiteY20" fmla="*/ 4681674 h 6116502"/>
              <a:gd name="connsiteX21" fmla="*/ 5002177 w 6937913"/>
              <a:gd name="connsiteY21" fmla="*/ 5301747 h 6116502"/>
              <a:gd name="connsiteX22" fmla="*/ 4429700 w 6937913"/>
              <a:gd name="connsiteY22" fmla="*/ 5634550 h 6116502"/>
              <a:gd name="connsiteX23" fmla="*/ 3988258 w 6937913"/>
              <a:gd name="connsiteY23" fmla="*/ 5602377 h 6116502"/>
              <a:gd name="connsiteX24" fmla="*/ 3528916 w 6937913"/>
              <a:gd name="connsiteY24" fmla="*/ 5339651 h 6116502"/>
              <a:gd name="connsiteX25" fmla="*/ 2920028 w 6937913"/>
              <a:gd name="connsiteY25" fmla="*/ 5632598 h 6116502"/>
              <a:gd name="connsiteX26" fmla="*/ 2466085 w 6937913"/>
              <a:gd name="connsiteY26" fmla="*/ 5851429 h 6116502"/>
              <a:gd name="connsiteX27" fmla="*/ 1755477 w 6937913"/>
              <a:gd name="connsiteY27" fmla="*/ 6060622 h 6116502"/>
              <a:gd name="connsiteX28" fmla="*/ 994840 w 6937913"/>
              <a:gd name="connsiteY28" fmla="*/ 6098267 h 6116502"/>
              <a:gd name="connsiteX29" fmla="*/ 193111 w 6937913"/>
              <a:gd name="connsiteY29" fmla="*/ 5745272 h 6116502"/>
              <a:gd name="connsiteX30" fmla="*/ 29763 w 6937913"/>
              <a:gd name="connsiteY30" fmla="*/ 4204724 h 6116502"/>
              <a:gd name="connsiteX0" fmla="*/ 29763 w 6937913"/>
              <a:gd name="connsiteY0" fmla="*/ 4204724 h 6116502"/>
              <a:gd name="connsiteX1" fmla="*/ 294000 w 6937913"/>
              <a:gd name="connsiteY1" fmla="*/ 2975498 h 6116502"/>
              <a:gd name="connsiteX2" fmla="*/ 801407 w 6937913"/>
              <a:gd name="connsiteY2" fmla="*/ 2328644 h 6116502"/>
              <a:gd name="connsiteX3" fmla="*/ 1085959 w 6937913"/>
              <a:gd name="connsiteY3" fmla="*/ 2157487 h 6116502"/>
              <a:gd name="connsiteX4" fmla="*/ 2015989 w 6937913"/>
              <a:gd name="connsiteY4" fmla="*/ 1895672 h 6116502"/>
              <a:gd name="connsiteX5" fmla="*/ 2507056 w 6937913"/>
              <a:gd name="connsiteY5" fmla="*/ 1675540 h 6116502"/>
              <a:gd name="connsiteX6" fmla="*/ 2699182 w 6937913"/>
              <a:gd name="connsiteY6" fmla="*/ 1366181 h 6116502"/>
              <a:gd name="connsiteX7" fmla="*/ 2662122 w 6937913"/>
              <a:gd name="connsiteY7" fmla="*/ 998725 h 6116502"/>
              <a:gd name="connsiteX8" fmla="*/ 2715651 w 6937913"/>
              <a:gd name="connsiteY8" fmla="*/ 41078 h 6116502"/>
              <a:gd name="connsiteX9" fmla="*/ 4700573 w 6937913"/>
              <a:gd name="connsiteY9" fmla="*/ 166520 h 6116502"/>
              <a:gd name="connsiteX10" fmla="*/ 5437824 w 6937913"/>
              <a:gd name="connsiteY10" fmla="*/ 719458 h 6116502"/>
              <a:gd name="connsiteX11" fmla="*/ 5600704 w 6937913"/>
              <a:gd name="connsiteY11" fmla="*/ 1180434 h 6116502"/>
              <a:gd name="connsiteX12" fmla="*/ 5801239 w 6937913"/>
              <a:gd name="connsiteY12" fmla="*/ 1497740 h 6116502"/>
              <a:gd name="connsiteX13" fmla="*/ 6500543 w 6937913"/>
              <a:gd name="connsiteY13" fmla="*/ 1545750 h 6116502"/>
              <a:gd name="connsiteX14" fmla="*/ 6839384 w 6937913"/>
              <a:gd name="connsiteY14" fmla="*/ 1789515 h 6116502"/>
              <a:gd name="connsiteX15" fmla="*/ 6937913 w 6937913"/>
              <a:gd name="connsiteY15" fmla="*/ 2575218 h 6116502"/>
              <a:gd name="connsiteX16" fmla="*/ 6807471 w 6937913"/>
              <a:gd name="connsiteY16" fmla="*/ 3444422 h 6116502"/>
              <a:gd name="connsiteX17" fmla="*/ 6452582 w 6937913"/>
              <a:gd name="connsiteY17" fmla="*/ 3916470 h 6116502"/>
              <a:gd name="connsiteX18" fmla="*/ 5895085 w 6937913"/>
              <a:gd name="connsiteY18" fmla="*/ 4192616 h 6116502"/>
              <a:gd name="connsiteX19" fmla="*/ 5486018 w 6937913"/>
              <a:gd name="connsiteY19" fmla="*/ 4381617 h 6116502"/>
              <a:gd name="connsiteX20" fmla="*/ 5193420 w 6937913"/>
              <a:gd name="connsiteY20" fmla="*/ 4681674 h 6116502"/>
              <a:gd name="connsiteX21" fmla="*/ 5002177 w 6937913"/>
              <a:gd name="connsiteY21" fmla="*/ 5301747 h 6116502"/>
              <a:gd name="connsiteX22" fmla="*/ 4429700 w 6937913"/>
              <a:gd name="connsiteY22" fmla="*/ 5634550 h 6116502"/>
              <a:gd name="connsiteX23" fmla="*/ 3988258 w 6937913"/>
              <a:gd name="connsiteY23" fmla="*/ 5602377 h 6116502"/>
              <a:gd name="connsiteX24" fmla="*/ 3528916 w 6937913"/>
              <a:gd name="connsiteY24" fmla="*/ 5339651 h 6116502"/>
              <a:gd name="connsiteX25" fmla="*/ 2920028 w 6937913"/>
              <a:gd name="connsiteY25" fmla="*/ 5632598 h 6116502"/>
              <a:gd name="connsiteX26" fmla="*/ 2466085 w 6937913"/>
              <a:gd name="connsiteY26" fmla="*/ 5851429 h 6116502"/>
              <a:gd name="connsiteX27" fmla="*/ 1755477 w 6937913"/>
              <a:gd name="connsiteY27" fmla="*/ 6060622 h 6116502"/>
              <a:gd name="connsiteX28" fmla="*/ 994840 w 6937913"/>
              <a:gd name="connsiteY28" fmla="*/ 6098267 h 6116502"/>
              <a:gd name="connsiteX29" fmla="*/ 193111 w 6937913"/>
              <a:gd name="connsiteY29" fmla="*/ 5745272 h 6116502"/>
              <a:gd name="connsiteX30" fmla="*/ 29763 w 6937913"/>
              <a:gd name="connsiteY30" fmla="*/ 4204724 h 6116502"/>
              <a:gd name="connsiteX0" fmla="*/ 29763 w 6937913"/>
              <a:gd name="connsiteY0" fmla="*/ 4204724 h 6116502"/>
              <a:gd name="connsiteX1" fmla="*/ 294000 w 6937913"/>
              <a:gd name="connsiteY1" fmla="*/ 2975498 h 6116502"/>
              <a:gd name="connsiteX2" fmla="*/ 801407 w 6937913"/>
              <a:gd name="connsiteY2" fmla="*/ 2328644 h 6116502"/>
              <a:gd name="connsiteX3" fmla="*/ 1085959 w 6937913"/>
              <a:gd name="connsiteY3" fmla="*/ 2157487 h 6116502"/>
              <a:gd name="connsiteX4" fmla="*/ 2015989 w 6937913"/>
              <a:gd name="connsiteY4" fmla="*/ 1895672 h 6116502"/>
              <a:gd name="connsiteX5" fmla="*/ 2507056 w 6937913"/>
              <a:gd name="connsiteY5" fmla="*/ 1675540 h 6116502"/>
              <a:gd name="connsiteX6" fmla="*/ 2699182 w 6937913"/>
              <a:gd name="connsiteY6" fmla="*/ 1366181 h 6116502"/>
              <a:gd name="connsiteX7" fmla="*/ 2662122 w 6937913"/>
              <a:gd name="connsiteY7" fmla="*/ 998725 h 6116502"/>
              <a:gd name="connsiteX8" fmla="*/ 2715651 w 6937913"/>
              <a:gd name="connsiteY8" fmla="*/ 41078 h 6116502"/>
              <a:gd name="connsiteX9" fmla="*/ 4700573 w 6937913"/>
              <a:gd name="connsiteY9" fmla="*/ 166520 h 6116502"/>
              <a:gd name="connsiteX10" fmla="*/ 5437824 w 6937913"/>
              <a:gd name="connsiteY10" fmla="*/ 719458 h 6116502"/>
              <a:gd name="connsiteX11" fmla="*/ 5600704 w 6937913"/>
              <a:gd name="connsiteY11" fmla="*/ 1180434 h 6116502"/>
              <a:gd name="connsiteX12" fmla="*/ 5801239 w 6937913"/>
              <a:gd name="connsiteY12" fmla="*/ 1497740 h 6116502"/>
              <a:gd name="connsiteX13" fmla="*/ 6500543 w 6937913"/>
              <a:gd name="connsiteY13" fmla="*/ 1545750 h 6116502"/>
              <a:gd name="connsiteX14" fmla="*/ 6839384 w 6937913"/>
              <a:gd name="connsiteY14" fmla="*/ 1789515 h 6116502"/>
              <a:gd name="connsiteX15" fmla="*/ 6937913 w 6937913"/>
              <a:gd name="connsiteY15" fmla="*/ 2575218 h 6116502"/>
              <a:gd name="connsiteX16" fmla="*/ 6807471 w 6937913"/>
              <a:gd name="connsiteY16" fmla="*/ 3444422 h 6116502"/>
              <a:gd name="connsiteX17" fmla="*/ 6452582 w 6937913"/>
              <a:gd name="connsiteY17" fmla="*/ 3916470 h 6116502"/>
              <a:gd name="connsiteX18" fmla="*/ 5895085 w 6937913"/>
              <a:gd name="connsiteY18" fmla="*/ 4192616 h 6116502"/>
              <a:gd name="connsiteX19" fmla="*/ 5486018 w 6937913"/>
              <a:gd name="connsiteY19" fmla="*/ 4381617 h 6116502"/>
              <a:gd name="connsiteX20" fmla="*/ 5193420 w 6937913"/>
              <a:gd name="connsiteY20" fmla="*/ 4681674 h 6116502"/>
              <a:gd name="connsiteX21" fmla="*/ 5002177 w 6937913"/>
              <a:gd name="connsiteY21" fmla="*/ 5301747 h 6116502"/>
              <a:gd name="connsiteX22" fmla="*/ 4429700 w 6937913"/>
              <a:gd name="connsiteY22" fmla="*/ 5634550 h 6116502"/>
              <a:gd name="connsiteX23" fmla="*/ 3988258 w 6937913"/>
              <a:gd name="connsiteY23" fmla="*/ 5602377 h 6116502"/>
              <a:gd name="connsiteX24" fmla="*/ 3528916 w 6937913"/>
              <a:gd name="connsiteY24" fmla="*/ 5339651 h 6116502"/>
              <a:gd name="connsiteX25" fmla="*/ 2920028 w 6937913"/>
              <a:gd name="connsiteY25" fmla="*/ 5632598 h 6116502"/>
              <a:gd name="connsiteX26" fmla="*/ 2466085 w 6937913"/>
              <a:gd name="connsiteY26" fmla="*/ 5851429 h 6116502"/>
              <a:gd name="connsiteX27" fmla="*/ 1755477 w 6937913"/>
              <a:gd name="connsiteY27" fmla="*/ 6060622 h 6116502"/>
              <a:gd name="connsiteX28" fmla="*/ 994840 w 6937913"/>
              <a:gd name="connsiteY28" fmla="*/ 6098267 h 6116502"/>
              <a:gd name="connsiteX29" fmla="*/ 193111 w 6937913"/>
              <a:gd name="connsiteY29" fmla="*/ 5745272 h 6116502"/>
              <a:gd name="connsiteX30" fmla="*/ 29763 w 6937913"/>
              <a:gd name="connsiteY30" fmla="*/ 4204724 h 6116502"/>
              <a:gd name="connsiteX0" fmla="*/ 29763 w 6937913"/>
              <a:gd name="connsiteY0" fmla="*/ 4204724 h 6116502"/>
              <a:gd name="connsiteX1" fmla="*/ 294000 w 6937913"/>
              <a:gd name="connsiteY1" fmla="*/ 2975498 h 6116502"/>
              <a:gd name="connsiteX2" fmla="*/ 801407 w 6937913"/>
              <a:gd name="connsiteY2" fmla="*/ 2328644 h 6116502"/>
              <a:gd name="connsiteX3" fmla="*/ 1085959 w 6937913"/>
              <a:gd name="connsiteY3" fmla="*/ 2157487 h 6116502"/>
              <a:gd name="connsiteX4" fmla="*/ 2015989 w 6937913"/>
              <a:gd name="connsiteY4" fmla="*/ 1895672 h 6116502"/>
              <a:gd name="connsiteX5" fmla="*/ 2507056 w 6937913"/>
              <a:gd name="connsiteY5" fmla="*/ 1675540 h 6116502"/>
              <a:gd name="connsiteX6" fmla="*/ 2699182 w 6937913"/>
              <a:gd name="connsiteY6" fmla="*/ 1366181 h 6116502"/>
              <a:gd name="connsiteX7" fmla="*/ 2662122 w 6937913"/>
              <a:gd name="connsiteY7" fmla="*/ 998725 h 6116502"/>
              <a:gd name="connsiteX8" fmla="*/ 2715651 w 6937913"/>
              <a:gd name="connsiteY8" fmla="*/ 41078 h 6116502"/>
              <a:gd name="connsiteX9" fmla="*/ 4700573 w 6937913"/>
              <a:gd name="connsiteY9" fmla="*/ 166520 h 6116502"/>
              <a:gd name="connsiteX10" fmla="*/ 5437824 w 6937913"/>
              <a:gd name="connsiteY10" fmla="*/ 719458 h 6116502"/>
              <a:gd name="connsiteX11" fmla="*/ 5600704 w 6937913"/>
              <a:gd name="connsiteY11" fmla="*/ 1180434 h 6116502"/>
              <a:gd name="connsiteX12" fmla="*/ 5801239 w 6937913"/>
              <a:gd name="connsiteY12" fmla="*/ 1497740 h 6116502"/>
              <a:gd name="connsiteX13" fmla="*/ 6500543 w 6937913"/>
              <a:gd name="connsiteY13" fmla="*/ 1545750 h 6116502"/>
              <a:gd name="connsiteX14" fmla="*/ 6839384 w 6937913"/>
              <a:gd name="connsiteY14" fmla="*/ 1789515 h 6116502"/>
              <a:gd name="connsiteX15" fmla="*/ 6937913 w 6937913"/>
              <a:gd name="connsiteY15" fmla="*/ 2575218 h 6116502"/>
              <a:gd name="connsiteX16" fmla="*/ 6807471 w 6937913"/>
              <a:gd name="connsiteY16" fmla="*/ 3444422 h 6116502"/>
              <a:gd name="connsiteX17" fmla="*/ 6452582 w 6937913"/>
              <a:gd name="connsiteY17" fmla="*/ 3916470 h 6116502"/>
              <a:gd name="connsiteX18" fmla="*/ 5895085 w 6937913"/>
              <a:gd name="connsiteY18" fmla="*/ 4192616 h 6116502"/>
              <a:gd name="connsiteX19" fmla="*/ 5486018 w 6937913"/>
              <a:gd name="connsiteY19" fmla="*/ 4381617 h 6116502"/>
              <a:gd name="connsiteX20" fmla="*/ 5193420 w 6937913"/>
              <a:gd name="connsiteY20" fmla="*/ 4681674 h 6116502"/>
              <a:gd name="connsiteX21" fmla="*/ 5002177 w 6937913"/>
              <a:gd name="connsiteY21" fmla="*/ 5301747 h 6116502"/>
              <a:gd name="connsiteX22" fmla="*/ 4429700 w 6937913"/>
              <a:gd name="connsiteY22" fmla="*/ 5634550 h 6116502"/>
              <a:gd name="connsiteX23" fmla="*/ 3988258 w 6937913"/>
              <a:gd name="connsiteY23" fmla="*/ 5602377 h 6116502"/>
              <a:gd name="connsiteX24" fmla="*/ 3528916 w 6937913"/>
              <a:gd name="connsiteY24" fmla="*/ 5339651 h 6116502"/>
              <a:gd name="connsiteX25" fmla="*/ 2920028 w 6937913"/>
              <a:gd name="connsiteY25" fmla="*/ 5632598 h 6116502"/>
              <a:gd name="connsiteX26" fmla="*/ 2466085 w 6937913"/>
              <a:gd name="connsiteY26" fmla="*/ 5851429 h 6116502"/>
              <a:gd name="connsiteX27" fmla="*/ 1755477 w 6937913"/>
              <a:gd name="connsiteY27" fmla="*/ 6060622 h 6116502"/>
              <a:gd name="connsiteX28" fmla="*/ 994840 w 6937913"/>
              <a:gd name="connsiteY28" fmla="*/ 6098267 h 6116502"/>
              <a:gd name="connsiteX29" fmla="*/ 193111 w 6937913"/>
              <a:gd name="connsiteY29" fmla="*/ 5745272 h 6116502"/>
              <a:gd name="connsiteX30" fmla="*/ 29763 w 6937913"/>
              <a:gd name="connsiteY30" fmla="*/ 4204724 h 6116502"/>
              <a:gd name="connsiteX0" fmla="*/ 29763 w 6937913"/>
              <a:gd name="connsiteY0" fmla="*/ 4204724 h 6116502"/>
              <a:gd name="connsiteX1" fmla="*/ 294000 w 6937913"/>
              <a:gd name="connsiteY1" fmla="*/ 2975498 h 6116502"/>
              <a:gd name="connsiteX2" fmla="*/ 801407 w 6937913"/>
              <a:gd name="connsiteY2" fmla="*/ 2328644 h 6116502"/>
              <a:gd name="connsiteX3" fmla="*/ 1085959 w 6937913"/>
              <a:gd name="connsiteY3" fmla="*/ 2157487 h 6116502"/>
              <a:gd name="connsiteX4" fmla="*/ 2015989 w 6937913"/>
              <a:gd name="connsiteY4" fmla="*/ 1895672 h 6116502"/>
              <a:gd name="connsiteX5" fmla="*/ 2507056 w 6937913"/>
              <a:gd name="connsiteY5" fmla="*/ 1675540 h 6116502"/>
              <a:gd name="connsiteX6" fmla="*/ 2699182 w 6937913"/>
              <a:gd name="connsiteY6" fmla="*/ 1366181 h 6116502"/>
              <a:gd name="connsiteX7" fmla="*/ 2662122 w 6937913"/>
              <a:gd name="connsiteY7" fmla="*/ 998725 h 6116502"/>
              <a:gd name="connsiteX8" fmla="*/ 2715651 w 6937913"/>
              <a:gd name="connsiteY8" fmla="*/ 41078 h 6116502"/>
              <a:gd name="connsiteX9" fmla="*/ 4700573 w 6937913"/>
              <a:gd name="connsiteY9" fmla="*/ 166520 h 6116502"/>
              <a:gd name="connsiteX10" fmla="*/ 5437824 w 6937913"/>
              <a:gd name="connsiteY10" fmla="*/ 719458 h 6116502"/>
              <a:gd name="connsiteX11" fmla="*/ 5600704 w 6937913"/>
              <a:gd name="connsiteY11" fmla="*/ 1180434 h 6116502"/>
              <a:gd name="connsiteX12" fmla="*/ 5801239 w 6937913"/>
              <a:gd name="connsiteY12" fmla="*/ 1497740 h 6116502"/>
              <a:gd name="connsiteX13" fmla="*/ 6500543 w 6937913"/>
              <a:gd name="connsiteY13" fmla="*/ 1545750 h 6116502"/>
              <a:gd name="connsiteX14" fmla="*/ 6839384 w 6937913"/>
              <a:gd name="connsiteY14" fmla="*/ 1789515 h 6116502"/>
              <a:gd name="connsiteX15" fmla="*/ 6937913 w 6937913"/>
              <a:gd name="connsiteY15" fmla="*/ 2575218 h 6116502"/>
              <a:gd name="connsiteX16" fmla="*/ 6807471 w 6937913"/>
              <a:gd name="connsiteY16" fmla="*/ 3444422 h 6116502"/>
              <a:gd name="connsiteX17" fmla="*/ 6452582 w 6937913"/>
              <a:gd name="connsiteY17" fmla="*/ 3916470 h 6116502"/>
              <a:gd name="connsiteX18" fmla="*/ 5895085 w 6937913"/>
              <a:gd name="connsiteY18" fmla="*/ 4192616 h 6116502"/>
              <a:gd name="connsiteX19" fmla="*/ 5486018 w 6937913"/>
              <a:gd name="connsiteY19" fmla="*/ 4381617 h 6116502"/>
              <a:gd name="connsiteX20" fmla="*/ 5193420 w 6937913"/>
              <a:gd name="connsiteY20" fmla="*/ 4681674 h 6116502"/>
              <a:gd name="connsiteX21" fmla="*/ 5002177 w 6937913"/>
              <a:gd name="connsiteY21" fmla="*/ 5301747 h 6116502"/>
              <a:gd name="connsiteX22" fmla="*/ 4429700 w 6937913"/>
              <a:gd name="connsiteY22" fmla="*/ 5634550 h 6116502"/>
              <a:gd name="connsiteX23" fmla="*/ 3988258 w 6937913"/>
              <a:gd name="connsiteY23" fmla="*/ 5602377 h 6116502"/>
              <a:gd name="connsiteX24" fmla="*/ 3528916 w 6937913"/>
              <a:gd name="connsiteY24" fmla="*/ 5339651 h 6116502"/>
              <a:gd name="connsiteX25" fmla="*/ 2920028 w 6937913"/>
              <a:gd name="connsiteY25" fmla="*/ 5632598 h 6116502"/>
              <a:gd name="connsiteX26" fmla="*/ 2466085 w 6937913"/>
              <a:gd name="connsiteY26" fmla="*/ 5851429 h 6116502"/>
              <a:gd name="connsiteX27" fmla="*/ 1755477 w 6937913"/>
              <a:gd name="connsiteY27" fmla="*/ 6060622 h 6116502"/>
              <a:gd name="connsiteX28" fmla="*/ 994840 w 6937913"/>
              <a:gd name="connsiteY28" fmla="*/ 6098267 h 6116502"/>
              <a:gd name="connsiteX29" fmla="*/ 193111 w 6937913"/>
              <a:gd name="connsiteY29" fmla="*/ 5745272 h 6116502"/>
              <a:gd name="connsiteX30" fmla="*/ 29763 w 6937913"/>
              <a:gd name="connsiteY30" fmla="*/ 4204724 h 6116502"/>
              <a:gd name="connsiteX0" fmla="*/ 29763 w 6937913"/>
              <a:gd name="connsiteY0" fmla="*/ 4204724 h 6116502"/>
              <a:gd name="connsiteX1" fmla="*/ 294000 w 6937913"/>
              <a:gd name="connsiteY1" fmla="*/ 2975498 h 6116502"/>
              <a:gd name="connsiteX2" fmla="*/ 801407 w 6937913"/>
              <a:gd name="connsiteY2" fmla="*/ 2328644 h 6116502"/>
              <a:gd name="connsiteX3" fmla="*/ 1085959 w 6937913"/>
              <a:gd name="connsiteY3" fmla="*/ 2157487 h 6116502"/>
              <a:gd name="connsiteX4" fmla="*/ 2015989 w 6937913"/>
              <a:gd name="connsiteY4" fmla="*/ 1895672 h 6116502"/>
              <a:gd name="connsiteX5" fmla="*/ 2577395 w 6937913"/>
              <a:gd name="connsiteY5" fmla="*/ 1798633 h 6116502"/>
              <a:gd name="connsiteX6" fmla="*/ 2699182 w 6937913"/>
              <a:gd name="connsiteY6" fmla="*/ 1366181 h 6116502"/>
              <a:gd name="connsiteX7" fmla="*/ 2662122 w 6937913"/>
              <a:gd name="connsiteY7" fmla="*/ 998725 h 6116502"/>
              <a:gd name="connsiteX8" fmla="*/ 2715651 w 6937913"/>
              <a:gd name="connsiteY8" fmla="*/ 41078 h 6116502"/>
              <a:gd name="connsiteX9" fmla="*/ 4700573 w 6937913"/>
              <a:gd name="connsiteY9" fmla="*/ 166520 h 6116502"/>
              <a:gd name="connsiteX10" fmla="*/ 5437824 w 6937913"/>
              <a:gd name="connsiteY10" fmla="*/ 719458 h 6116502"/>
              <a:gd name="connsiteX11" fmla="*/ 5600704 w 6937913"/>
              <a:gd name="connsiteY11" fmla="*/ 1180434 h 6116502"/>
              <a:gd name="connsiteX12" fmla="*/ 5801239 w 6937913"/>
              <a:gd name="connsiteY12" fmla="*/ 1497740 h 6116502"/>
              <a:gd name="connsiteX13" fmla="*/ 6500543 w 6937913"/>
              <a:gd name="connsiteY13" fmla="*/ 1545750 h 6116502"/>
              <a:gd name="connsiteX14" fmla="*/ 6839384 w 6937913"/>
              <a:gd name="connsiteY14" fmla="*/ 1789515 h 6116502"/>
              <a:gd name="connsiteX15" fmla="*/ 6937913 w 6937913"/>
              <a:gd name="connsiteY15" fmla="*/ 2575218 h 6116502"/>
              <a:gd name="connsiteX16" fmla="*/ 6807471 w 6937913"/>
              <a:gd name="connsiteY16" fmla="*/ 3444422 h 6116502"/>
              <a:gd name="connsiteX17" fmla="*/ 6452582 w 6937913"/>
              <a:gd name="connsiteY17" fmla="*/ 3916470 h 6116502"/>
              <a:gd name="connsiteX18" fmla="*/ 5895085 w 6937913"/>
              <a:gd name="connsiteY18" fmla="*/ 4192616 h 6116502"/>
              <a:gd name="connsiteX19" fmla="*/ 5486018 w 6937913"/>
              <a:gd name="connsiteY19" fmla="*/ 4381617 h 6116502"/>
              <a:gd name="connsiteX20" fmla="*/ 5193420 w 6937913"/>
              <a:gd name="connsiteY20" fmla="*/ 4681674 h 6116502"/>
              <a:gd name="connsiteX21" fmla="*/ 5002177 w 6937913"/>
              <a:gd name="connsiteY21" fmla="*/ 5301747 h 6116502"/>
              <a:gd name="connsiteX22" fmla="*/ 4429700 w 6937913"/>
              <a:gd name="connsiteY22" fmla="*/ 5634550 h 6116502"/>
              <a:gd name="connsiteX23" fmla="*/ 3988258 w 6937913"/>
              <a:gd name="connsiteY23" fmla="*/ 5602377 h 6116502"/>
              <a:gd name="connsiteX24" fmla="*/ 3528916 w 6937913"/>
              <a:gd name="connsiteY24" fmla="*/ 5339651 h 6116502"/>
              <a:gd name="connsiteX25" fmla="*/ 2920028 w 6937913"/>
              <a:gd name="connsiteY25" fmla="*/ 5632598 h 6116502"/>
              <a:gd name="connsiteX26" fmla="*/ 2466085 w 6937913"/>
              <a:gd name="connsiteY26" fmla="*/ 5851429 h 6116502"/>
              <a:gd name="connsiteX27" fmla="*/ 1755477 w 6937913"/>
              <a:gd name="connsiteY27" fmla="*/ 6060622 h 6116502"/>
              <a:gd name="connsiteX28" fmla="*/ 994840 w 6937913"/>
              <a:gd name="connsiteY28" fmla="*/ 6098267 h 6116502"/>
              <a:gd name="connsiteX29" fmla="*/ 193111 w 6937913"/>
              <a:gd name="connsiteY29" fmla="*/ 5745272 h 6116502"/>
              <a:gd name="connsiteX30" fmla="*/ 29763 w 6937913"/>
              <a:gd name="connsiteY30" fmla="*/ 4204724 h 6116502"/>
              <a:gd name="connsiteX0" fmla="*/ 29763 w 6937913"/>
              <a:gd name="connsiteY0" fmla="*/ 4204724 h 6116502"/>
              <a:gd name="connsiteX1" fmla="*/ 294000 w 6937913"/>
              <a:gd name="connsiteY1" fmla="*/ 2975498 h 6116502"/>
              <a:gd name="connsiteX2" fmla="*/ 801407 w 6937913"/>
              <a:gd name="connsiteY2" fmla="*/ 2328644 h 6116502"/>
              <a:gd name="connsiteX3" fmla="*/ 1085959 w 6937913"/>
              <a:gd name="connsiteY3" fmla="*/ 2157487 h 6116502"/>
              <a:gd name="connsiteX4" fmla="*/ 2015989 w 6937913"/>
              <a:gd name="connsiteY4" fmla="*/ 1895672 h 6116502"/>
              <a:gd name="connsiteX5" fmla="*/ 2530502 w 6937913"/>
              <a:gd name="connsiteY5" fmla="*/ 1669679 h 6116502"/>
              <a:gd name="connsiteX6" fmla="*/ 2699182 w 6937913"/>
              <a:gd name="connsiteY6" fmla="*/ 1366181 h 6116502"/>
              <a:gd name="connsiteX7" fmla="*/ 2662122 w 6937913"/>
              <a:gd name="connsiteY7" fmla="*/ 998725 h 6116502"/>
              <a:gd name="connsiteX8" fmla="*/ 2715651 w 6937913"/>
              <a:gd name="connsiteY8" fmla="*/ 41078 h 6116502"/>
              <a:gd name="connsiteX9" fmla="*/ 4700573 w 6937913"/>
              <a:gd name="connsiteY9" fmla="*/ 166520 h 6116502"/>
              <a:gd name="connsiteX10" fmla="*/ 5437824 w 6937913"/>
              <a:gd name="connsiteY10" fmla="*/ 719458 h 6116502"/>
              <a:gd name="connsiteX11" fmla="*/ 5600704 w 6937913"/>
              <a:gd name="connsiteY11" fmla="*/ 1180434 h 6116502"/>
              <a:gd name="connsiteX12" fmla="*/ 5801239 w 6937913"/>
              <a:gd name="connsiteY12" fmla="*/ 1497740 h 6116502"/>
              <a:gd name="connsiteX13" fmla="*/ 6500543 w 6937913"/>
              <a:gd name="connsiteY13" fmla="*/ 1545750 h 6116502"/>
              <a:gd name="connsiteX14" fmla="*/ 6839384 w 6937913"/>
              <a:gd name="connsiteY14" fmla="*/ 1789515 h 6116502"/>
              <a:gd name="connsiteX15" fmla="*/ 6937913 w 6937913"/>
              <a:gd name="connsiteY15" fmla="*/ 2575218 h 6116502"/>
              <a:gd name="connsiteX16" fmla="*/ 6807471 w 6937913"/>
              <a:gd name="connsiteY16" fmla="*/ 3444422 h 6116502"/>
              <a:gd name="connsiteX17" fmla="*/ 6452582 w 6937913"/>
              <a:gd name="connsiteY17" fmla="*/ 3916470 h 6116502"/>
              <a:gd name="connsiteX18" fmla="*/ 5895085 w 6937913"/>
              <a:gd name="connsiteY18" fmla="*/ 4192616 h 6116502"/>
              <a:gd name="connsiteX19" fmla="*/ 5486018 w 6937913"/>
              <a:gd name="connsiteY19" fmla="*/ 4381617 h 6116502"/>
              <a:gd name="connsiteX20" fmla="*/ 5193420 w 6937913"/>
              <a:gd name="connsiteY20" fmla="*/ 4681674 h 6116502"/>
              <a:gd name="connsiteX21" fmla="*/ 5002177 w 6937913"/>
              <a:gd name="connsiteY21" fmla="*/ 5301747 h 6116502"/>
              <a:gd name="connsiteX22" fmla="*/ 4429700 w 6937913"/>
              <a:gd name="connsiteY22" fmla="*/ 5634550 h 6116502"/>
              <a:gd name="connsiteX23" fmla="*/ 3988258 w 6937913"/>
              <a:gd name="connsiteY23" fmla="*/ 5602377 h 6116502"/>
              <a:gd name="connsiteX24" fmla="*/ 3528916 w 6937913"/>
              <a:gd name="connsiteY24" fmla="*/ 5339651 h 6116502"/>
              <a:gd name="connsiteX25" fmla="*/ 2920028 w 6937913"/>
              <a:gd name="connsiteY25" fmla="*/ 5632598 h 6116502"/>
              <a:gd name="connsiteX26" fmla="*/ 2466085 w 6937913"/>
              <a:gd name="connsiteY26" fmla="*/ 5851429 h 6116502"/>
              <a:gd name="connsiteX27" fmla="*/ 1755477 w 6937913"/>
              <a:gd name="connsiteY27" fmla="*/ 6060622 h 6116502"/>
              <a:gd name="connsiteX28" fmla="*/ 994840 w 6937913"/>
              <a:gd name="connsiteY28" fmla="*/ 6098267 h 6116502"/>
              <a:gd name="connsiteX29" fmla="*/ 193111 w 6937913"/>
              <a:gd name="connsiteY29" fmla="*/ 5745272 h 6116502"/>
              <a:gd name="connsiteX30" fmla="*/ 29763 w 6937913"/>
              <a:gd name="connsiteY30" fmla="*/ 4204724 h 6116502"/>
              <a:gd name="connsiteX0" fmla="*/ 29763 w 6937913"/>
              <a:gd name="connsiteY0" fmla="*/ 4204724 h 6116502"/>
              <a:gd name="connsiteX1" fmla="*/ 294000 w 6937913"/>
              <a:gd name="connsiteY1" fmla="*/ 2975498 h 6116502"/>
              <a:gd name="connsiteX2" fmla="*/ 801407 w 6937913"/>
              <a:gd name="connsiteY2" fmla="*/ 2328644 h 6116502"/>
              <a:gd name="connsiteX3" fmla="*/ 1085959 w 6937913"/>
              <a:gd name="connsiteY3" fmla="*/ 2157487 h 6116502"/>
              <a:gd name="connsiteX4" fmla="*/ 1939789 w 6937913"/>
              <a:gd name="connsiteY4" fmla="*/ 1901534 h 6116502"/>
              <a:gd name="connsiteX5" fmla="*/ 2530502 w 6937913"/>
              <a:gd name="connsiteY5" fmla="*/ 1669679 h 6116502"/>
              <a:gd name="connsiteX6" fmla="*/ 2699182 w 6937913"/>
              <a:gd name="connsiteY6" fmla="*/ 1366181 h 6116502"/>
              <a:gd name="connsiteX7" fmla="*/ 2662122 w 6937913"/>
              <a:gd name="connsiteY7" fmla="*/ 998725 h 6116502"/>
              <a:gd name="connsiteX8" fmla="*/ 2715651 w 6937913"/>
              <a:gd name="connsiteY8" fmla="*/ 41078 h 6116502"/>
              <a:gd name="connsiteX9" fmla="*/ 4700573 w 6937913"/>
              <a:gd name="connsiteY9" fmla="*/ 166520 h 6116502"/>
              <a:gd name="connsiteX10" fmla="*/ 5437824 w 6937913"/>
              <a:gd name="connsiteY10" fmla="*/ 719458 h 6116502"/>
              <a:gd name="connsiteX11" fmla="*/ 5600704 w 6937913"/>
              <a:gd name="connsiteY11" fmla="*/ 1180434 h 6116502"/>
              <a:gd name="connsiteX12" fmla="*/ 5801239 w 6937913"/>
              <a:gd name="connsiteY12" fmla="*/ 1497740 h 6116502"/>
              <a:gd name="connsiteX13" fmla="*/ 6500543 w 6937913"/>
              <a:gd name="connsiteY13" fmla="*/ 1545750 h 6116502"/>
              <a:gd name="connsiteX14" fmla="*/ 6839384 w 6937913"/>
              <a:gd name="connsiteY14" fmla="*/ 1789515 h 6116502"/>
              <a:gd name="connsiteX15" fmla="*/ 6937913 w 6937913"/>
              <a:gd name="connsiteY15" fmla="*/ 2575218 h 6116502"/>
              <a:gd name="connsiteX16" fmla="*/ 6807471 w 6937913"/>
              <a:gd name="connsiteY16" fmla="*/ 3444422 h 6116502"/>
              <a:gd name="connsiteX17" fmla="*/ 6452582 w 6937913"/>
              <a:gd name="connsiteY17" fmla="*/ 3916470 h 6116502"/>
              <a:gd name="connsiteX18" fmla="*/ 5895085 w 6937913"/>
              <a:gd name="connsiteY18" fmla="*/ 4192616 h 6116502"/>
              <a:gd name="connsiteX19" fmla="*/ 5486018 w 6937913"/>
              <a:gd name="connsiteY19" fmla="*/ 4381617 h 6116502"/>
              <a:gd name="connsiteX20" fmla="*/ 5193420 w 6937913"/>
              <a:gd name="connsiteY20" fmla="*/ 4681674 h 6116502"/>
              <a:gd name="connsiteX21" fmla="*/ 5002177 w 6937913"/>
              <a:gd name="connsiteY21" fmla="*/ 5301747 h 6116502"/>
              <a:gd name="connsiteX22" fmla="*/ 4429700 w 6937913"/>
              <a:gd name="connsiteY22" fmla="*/ 5634550 h 6116502"/>
              <a:gd name="connsiteX23" fmla="*/ 3988258 w 6937913"/>
              <a:gd name="connsiteY23" fmla="*/ 5602377 h 6116502"/>
              <a:gd name="connsiteX24" fmla="*/ 3528916 w 6937913"/>
              <a:gd name="connsiteY24" fmla="*/ 5339651 h 6116502"/>
              <a:gd name="connsiteX25" fmla="*/ 2920028 w 6937913"/>
              <a:gd name="connsiteY25" fmla="*/ 5632598 h 6116502"/>
              <a:gd name="connsiteX26" fmla="*/ 2466085 w 6937913"/>
              <a:gd name="connsiteY26" fmla="*/ 5851429 h 6116502"/>
              <a:gd name="connsiteX27" fmla="*/ 1755477 w 6937913"/>
              <a:gd name="connsiteY27" fmla="*/ 6060622 h 6116502"/>
              <a:gd name="connsiteX28" fmla="*/ 994840 w 6937913"/>
              <a:gd name="connsiteY28" fmla="*/ 6098267 h 6116502"/>
              <a:gd name="connsiteX29" fmla="*/ 193111 w 6937913"/>
              <a:gd name="connsiteY29" fmla="*/ 5745272 h 6116502"/>
              <a:gd name="connsiteX30" fmla="*/ 29763 w 6937913"/>
              <a:gd name="connsiteY30" fmla="*/ 4204724 h 6116502"/>
              <a:gd name="connsiteX0" fmla="*/ 29763 w 6937913"/>
              <a:gd name="connsiteY0" fmla="*/ 4204724 h 6116502"/>
              <a:gd name="connsiteX1" fmla="*/ 294000 w 6937913"/>
              <a:gd name="connsiteY1" fmla="*/ 2975498 h 6116502"/>
              <a:gd name="connsiteX2" fmla="*/ 801407 w 6937913"/>
              <a:gd name="connsiteY2" fmla="*/ 2328644 h 6116502"/>
              <a:gd name="connsiteX3" fmla="*/ 1085959 w 6937913"/>
              <a:gd name="connsiteY3" fmla="*/ 2157487 h 6116502"/>
              <a:gd name="connsiteX4" fmla="*/ 1939789 w 6937913"/>
              <a:gd name="connsiteY4" fmla="*/ 1901534 h 6116502"/>
              <a:gd name="connsiteX5" fmla="*/ 2530502 w 6937913"/>
              <a:gd name="connsiteY5" fmla="*/ 1669679 h 6116502"/>
              <a:gd name="connsiteX6" fmla="*/ 2699182 w 6937913"/>
              <a:gd name="connsiteY6" fmla="*/ 1366181 h 6116502"/>
              <a:gd name="connsiteX7" fmla="*/ 2662122 w 6937913"/>
              <a:gd name="connsiteY7" fmla="*/ 998725 h 6116502"/>
              <a:gd name="connsiteX8" fmla="*/ 2715651 w 6937913"/>
              <a:gd name="connsiteY8" fmla="*/ 41078 h 6116502"/>
              <a:gd name="connsiteX9" fmla="*/ 4700573 w 6937913"/>
              <a:gd name="connsiteY9" fmla="*/ 166520 h 6116502"/>
              <a:gd name="connsiteX10" fmla="*/ 5437824 w 6937913"/>
              <a:gd name="connsiteY10" fmla="*/ 719458 h 6116502"/>
              <a:gd name="connsiteX11" fmla="*/ 5600704 w 6937913"/>
              <a:gd name="connsiteY11" fmla="*/ 1180434 h 6116502"/>
              <a:gd name="connsiteX12" fmla="*/ 5801239 w 6937913"/>
              <a:gd name="connsiteY12" fmla="*/ 1497740 h 6116502"/>
              <a:gd name="connsiteX13" fmla="*/ 6500543 w 6937913"/>
              <a:gd name="connsiteY13" fmla="*/ 1545750 h 6116502"/>
              <a:gd name="connsiteX14" fmla="*/ 6839384 w 6937913"/>
              <a:gd name="connsiteY14" fmla="*/ 1789515 h 6116502"/>
              <a:gd name="connsiteX15" fmla="*/ 6937913 w 6937913"/>
              <a:gd name="connsiteY15" fmla="*/ 2575218 h 6116502"/>
              <a:gd name="connsiteX16" fmla="*/ 6807471 w 6937913"/>
              <a:gd name="connsiteY16" fmla="*/ 3444422 h 6116502"/>
              <a:gd name="connsiteX17" fmla="*/ 6452582 w 6937913"/>
              <a:gd name="connsiteY17" fmla="*/ 3916470 h 6116502"/>
              <a:gd name="connsiteX18" fmla="*/ 5895085 w 6937913"/>
              <a:gd name="connsiteY18" fmla="*/ 4192616 h 6116502"/>
              <a:gd name="connsiteX19" fmla="*/ 5486018 w 6937913"/>
              <a:gd name="connsiteY19" fmla="*/ 4381617 h 6116502"/>
              <a:gd name="connsiteX20" fmla="*/ 5193420 w 6937913"/>
              <a:gd name="connsiteY20" fmla="*/ 4681674 h 6116502"/>
              <a:gd name="connsiteX21" fmla="*/ 5002177 w 6937913"/>
              <a:gd name="connsiteY21" fmla="*/ 5301747 h 6116502"/>
              <a:gd name="connsiteX22" fmla="*/ 4429700 w 6937913"/>
              <a:gd name="connsiteY22" fmla="*/ 5634550 h 6116502"/>
              <a:gd name="connsiteX23" fmla="*/ 3988258 w 6937913"/>
              <a:gd name="connsiteY23" fmla="*/ 5602377 h 6116502"/>
              <a:gd name="connsiteX24" fmla="*/ 3528916 w 6937913"/>
              <a:gd name="connsiteY24" fmla="*/ 5339651 h 6116502"/>
              <a:gd name="connsiteX25" fmla="*/ 2920028 w 6937913"/>
              <a:gd name="connsiteY25" fmla="*/ 5632598 h 6116502"/>
              <a:gd name="connsiteX26" fmla="*/ 2466085 w 6937913"/>
              <a:gd name="connsiteY26" fmla="*/ 5851429 h 6116502"/>
              <a:gd name="connsiteX27" fmla="*/ 1755477 w 6937913"/>
              <a:gd name="connsiteY27" fmla="*/ 6060622 h 6116502"/>
              <a:gd name="connsiteX28" fmla="*/ 994840 w 6937913"/>
              <a:gd name="connsiteY28" fmla="*/ 6098267 h 6116502"/>
              <a:gd name="connsiteX29" fmla="*/ 193111 w 6937913"/>
              <a:gd name="connsiteY29" fmla="*/ 5745272 h 6116502"/>
              <a:gd name="connsiteX30" fmla="*/ 29763 w 6937913"/>
              <a:gd name="connsiteY30" fmla="*/ 4204724 h 6116502"/>
              <a:gd name="connsiteX0" fmla="*/ 29763 w 6937913"/>
              <a:gd name="connsiteY0" fmla="*/ 4204724 h 6116502"/>
              <a:gd name="connsiteX1" fmla="*/ 294000 w 6937913"/>
              <a:gd name="connsiteY1" fmla="*/ 2975498 h 6116502"/>
              <a:gd name="connsiteX2" fmla="*/ 801407 w 6937913"/>
              <a:gd name="connsiteY2" fmla="*/ 2328644 h 6116502"/>
              <a:gd name="connsiteX3" fmla="*/ 1085959 w 6937913"/>
              <a:gd name="connsiteY3" fmla="*/ 2157487 h 6116502"/>
              <a:gd name="connsiteX4" fmla="*/ 1939789 w 6937913"/>
              <a:gd name="connsiteY4" fmla="*/ 1901534 h 6116502"/>
              <a:gd name="connsiteX5" fmla="*/ 2530502 w 6937913"/>
              <a:gd name="connsiteY5" fmla="*/ 1669679 h 6116502"/>
              <a:gd name="connsiteX6" fmla="*/ 2699182 w 6937913"/>
              <a:gd name="connsiteY6" fmla="*/ 1366181 h 6116502"/>
              <a:gd name="connsiteX7" fmla="*/ 2662122 w 6937913"/>
              <a:gd name="connsiteY7" fmla="*/ 998725 h 6116502"/>
              <a:gd name="connsiteX8" fmla="*/ 2715651 w 6937913"/>
              <a:gd name="connsiteY8" fmla="*/ 41078 h 6116502"/>
              <a:gd name="connsiteX9" fmla="*/ 4700573 w 6937913"/>
              <a:gd name="connsiteY9" fmla="*/ 166520 h 6116502"/>
              <a:gd name="connsiteX10" fmla="*/ 5437824 w 6937913"/>
              <a:gd name="connsiteY10" fmla="*/ 719458 h 6116502"/>
              <a:gd name="connsiteX11" fmla="*/ 5600704 w 6937913"/>
              <a:gd name="connsiteY11" fmla="*/ 1180434 h 6116502"/>
              <a:gd name="connsiteX12" fmla="*/ 5801239 w 6937913"/>
              <a:gd name="connsiteY12" fmla="*/ 1497740 h 6116502"/>
              <a:gd name="connsiteX13" fmla="*/ 6500543 w 6937913"/>
              <a:gd name="connsiteY13" fmla="*/ 1545750 h 6116502"/>
              <a:gd name="connsiteX14" fmla="*/ 6839384 w 6937913"/>
              <a:gd name="connsiteY14" fmla="*/ 1789515 h 6116502"/>
              <a:gd name="connsiteX15" fmla="*/ 6937913 w 6937913"/>
              <a:gd name="connsiteY15" fmla="*/ 2575218 h 6116502"/>
              <a:gd name="connsiteX16" fmla="*/ 6807471 w 6937913"/>
              <a:gd name="connsiteY16" fmla="*/ 3444422 h 6116502"/>
              <a:gd name="connsiteX17" fmla="*/ 6452582 w 6937913"/>
              <a:gd name="connsiteY17" fmla="*/ 3916470 h 6116502"/>
              <a:gd name="connsiteX18" fmla="*/ 5895085 w 6937913"/>
              <a:gd name="connsiteY18" fmla="*/ 4192616 h 6116502"/>
              <a:gd name="connsiteX19" fmla="*/ 5486018 w 6937913"/>
              <a:gd name="connsiteY19" fmla="*/ 4381617 h 6116502"/>
              <a:gd name="connsiteX20" fmla="*/ 5193420 w 6937913"/>
              <a:gd name="connsiteY20" fmla="*/ 4681674 h 6116502"/>
              <a:gd name="connsiteX21" fmla="*/ 5002177 w 6937913"/>
              <a:gd name="connsiteY21" fmla="*/ 5301747 h 6116502"/>
              <a:gd name="connsiteX22" fmla="*/ 4429700 w 6937913"/>
              <a:gd name="connsiteY22" fmla="*/ 5634550 h 6116502"/>
              <a:gd name="connsiteX23" fmla="*/ 3988258 w 6937913"/>
              <a:gd name="connsiteY23" fmla="*/ 5602377 h 6116502"/>
              <a:gd name="connsiteX24" fmla="*/ 3528916 w 6937913"/>
              <a:gd name="connsiteY24" fmla="*/ 5339651 h 6116502"/>
              <a:gd name="connsiteX25" fmla="*/ 2920028 w 6937913"/>
              <a:gd name="connsiteY25" fmla="*/ 5632598 h 6116502"/>
              <a:gd name="connsiteX26" fmla="*/ 2466085 w 6937913"/>
              <a:gd name="connsiteY26" fmla="*/ 5851429 h 6116502"/>
              <a:gd name="connsiteX27" fmla="*/ 1755477 w 6937913"/>
              <a:gd name="connsiteY27" fmla="*/ 6060622 h 6116502"/>
              <a:gd name="connsiteX28" fmla="*/ 994840 w 6937913"/>
              <a:gd name="connsiteY28" fmla="*/ 6098267 h 6116502"/>
              <a:gd name="connsiteX29" fmla="*/ 193111 w 6937913"/>
              <a:gd name="connsiteY29" fmla="*/ 5745272 h 6116502"/>
              <a:gd name="connsiteX30" fmla="*/ 29763 w 6937913"/>
              <a:gd name="connsiteY30" fmla="*/ 4204724 h 6116502"/>
              <a:gd name="connsiteX0" fmla="*/ 29763 w 6937913"/>
              <a:gd name="connsiteY0" fmla="*/ 4204724 h 6116502"/>
              <a:gd name="connsiteX1" fmla="*/ 294000 w 6937913"/>
              <a:gd name="connsiteY1" fmla="*/ 2975498 h 6116502"/>
              <a:gd name="connsiteX2" fmla="*/ 801407 w 6937913"/>
              <a:gd name="connsiteY2" fmla="*/ 2328644 h 6116502"/>
              <a:gd name="connsiteX3" fmla="*/ 1062513 w 6937913"/>
              <a:gd name="connsiteY3" fmla="*/ 2122318 h 6116502"/>
              <a:gd name="connsiteX4" fmla="*/ 1939789 w 6937913"/>
              <a:gd name="connsiteY4" fmla="*/ 1901534 h 6116502"/>
              <a:gd name="connsiteX5" fmla="*/ 2530502 w 6937913"/>
              <a:gd name="connsiteY5" fmla="*/ 1669679 h 6116502"/>
              <a:gd name="connsiteX6" fmla="*/ 2699182 w 6937913"/>
              <a:gd name="connsiteY6" fmla="*/ 1366181 h 6116502"/>
              <a:gd name="connsiteX7" fmla="*/ 2662122 w 6937913"/>
              <a:gd name="connsiteY7" fmla="*/ 998725 h 6116502"/>
              <a:gd name="connsiteX8" fmla="*/ 2715651 w 6937913"/>
              <a:gd name="connsiteY8" fmla="*/ 41078 h 6116502"/>
              <a:gd name="connsiteX9" fmla="*/ 4700573 w 6937913"/>
              <a:gd name="connsiteY9" fmla="*/ 166520 h 6116502"/>
              <a:gd name="connsiteX10" fmla="*/ 5437824 w 6937913"/>
              <a:gd name="connsiteY10" fmla="*/ 719458 h 6116502"/>
              <a:gd name="connsiteX11" fmla="*/ 5600704 w 6937913"/>
              <a:gd name="connsiteY11" fmla="*/ 1180434 h 6116502"/>
              <a:gd name="connsiteX12" fmla="*/ 5801239 w 6937913"/>
              <a:gd name="connsiteY12" fmla="*/ 1497740 h 6116502"/>
              <a:gd name="connsiteX13" fmla="*/ 6500543 w 6937913"/>
              <a:gd name="connsiteY13" fmla="*/ 1545750 h 6116502"/>
              <a:gd name="connsiteX14" fmla="*/ 6839384 w 6937913"/>
              <a:gd name="connsiteY14" fmla="*/ 1789515 h 6116502"/>
              <a:gd name="connsiteX15" fmla="*/ 6937913 w 6937913"/>
              <a:gd name="connsiteY15" fmla="*/ 2575218 h 6116502"/>
              <a:gd name="connsiteX16" fmla="*/ 6807471 w 6937913"/>
              <a:gd name="connsiteY16" fmla="*/ 3444422 h 6116502"/>
              <a:gd name="connsiteX17" fmla="*/ 6452582 w 6937913"/>
              <a:gd name="connsiteY17" fmla="*/ 3916470 h 6116502"/>
              <a:gd name="connsiteX18" fmla="*/ 5895085 w 6937913"/>
              <a:gd name="connsiteY18" fmla="*/ 4192616 h 6116502"/>
              <a:gd name="connsiteX19" fmla="*/ 5486018 w 6937913"/>
              <a:gd name="connsiteY19" fmla="*/ 4381617 h 6116502"/>
              <a:gd name="connsiteX20" fmla="*/ 5193420 w 6937913"/>
              <a:gd name="connsiteY20" fmla="*/ 4681674 h 6116502"/>
              <a:gd name="connsiteX21" fmla="*/ 5002177 w 6937913"/>
              <a:gd name="connsiteY21" fmla="*/ 5301747 h 6116502"/>
              <a:gd name="connsiteX22" fmla="*/ 4429700 w 6937913"/>
              <a:gd name="connsiteY22" fmla="*/ 5634550 h 6116502"/>
              <a:gd name="connsiteX23" fmla="*/ 3988258 w 6937913"/>
              <a:gd name="connsiteY23" fmla="*/ 5602377 h 6116502"/>
              <a:gd name="connsiteX24" fmla="*/ 3528916 w 6937913"/>
              <a:gd name="connsiteY24" fmla="*/ 5339651 h 6116502"/>
              <a:gd name="connsiteX25" fmla="*/ 2920028 w 6937913"/>
              <a:gd name="connsiteY25" fmla="*/ 5632598 h 6116502"/>
              <a:gd name="connsiteX26" fmla="*/ 2466085 w 6937913"/>
              <a:gd name="connsiteY26" fmla="*/ 5851429 h 6116502"/>
              <a:gd name="connsiteX27" fmla="*/ 1755477 w 6937913"/>
              <a:gd name="connsiteY27" fmla="*/ 6060622 h 6116502"/>
              <a:gd name="connsiteX28" fmla="*/ 994840 w 6937913"/>
              <a:gd name="connsiteY28" fmla="*/ 6098267 h 6116502"/>
              <a:gd name="connsiteX29" fmla="*/ 193111 w 6937913"/>
              <a:gd name="connsiteY29" fmla="*/ 5745272 h 6116502"/>
              <a:gd name="connsiteX30" fmla="*/ 29763 w 6937913"/>
              <a:gd name="connsiteY30" fmla="*/ 4204724 h 6116502"/>
              <a:gd name="connsiteX0" fmla="*/ 29763 w 6937913"/>
              <a:gd name="connsiteY0" fmla="*/ 4204724 h 6116502"/>
              <a:gd name="connsiteX1" fmla="*/ 294000 w 6937913"/>
              <a:gd name="connsiteY1" fmla="*/ 2975498 h 6116502"/>
              <a:gd name="connsiteX2" fmla="*/ 666592 w 6937913"/>
              <a:gd name="connsiteY2" fmla="*/ 2604136 h 6116502"/>
              <a:gd name="connsiteX3" fmla="*/ 1062513 w 6937913"/>
              <a:gd name="connsiteY3" fmla="*/ 2122318 h 6116502"/>
              <a:gd name="connsiteX4" fmla="*/ 1939789 w 6937913"/>
              <a:gd name="connsiteY4" fmla="*/ 1901534 h 6116502"/>
              <a:gd name="connsiteX5" fmla="*/ 2530502 w 6937913"/>
              <a:gd name="connsiteY5" fmla="*/ 1669679 h 6116502"/>
              <a:gd name="connsiteX6" fmla="*/ 2699182 w 6937913"/>
              <a:gd name="connsiteY6" fmla="*/ 1366181 h 6116502"/>
              <a:gd name="connsiteX7" fmla="*/ 2662122 w 6937913"/>
              <a:gd name="connsiteY7" fmla="*/ 998725 h 6116502"/>
              <a:gd name="connsiteX8" fmla="*/ 2715651 w 6937913"/>
              <a:gd name="connsiteY8" fmla="*/ 41078 h 6116502"/>
              <a:gd name="connsiteX9" fmla="*/ 4700573 w 6937913"/>
              <a:gd name="connsiteY9" fmla="*/ 166520 h 6116502"/>
              <a:gd name="connsiteX10" fmla="*/ 5437824 w 6937913"/>
              <a:gd name="connsiteY10" fmla="*/ 719458 h 6116502"/>
              <a:gd name="connsiteX11" fmla="*/ 5600704 w 6937913"/>
              <a:gd name="connsiteY11" fmla="*/ 1180434 h 6116502"/>
              <a:gd name="connsiteX12" fmla="*/ 5801239 w 6937913"/>
              <a:gd name="connsiteY12" fmla="*/ 1497740 h 6116502"/>
              <a:gd name="connsiteX13" fmla="*/ 6500543 w 6937913"/>
              <a:gd name="connsiteY13" fmla="*/ 1545750 h 6116502"/>
              <a:gd name="connsiteX14" fmla="*/ 6839384 w 6937913"/>
              <a:gd name="connsiteY14" fmla="*/ 1789515 h 6116502"/>
              <a:gd name="connsiteX15" fmla="*/ 6937913 w 6937913"/>
              <a:gd name="connsiteY15" fmla="*/ 2575218 h 6116502"/>
              <a:gd name="connsiteX16" fmla="*/ 6807471 w 6937913"/>
              <a:gd name="connsiteY16" fmla="*/ 3444422 h 6116502"/>
              <a:gd name="connsiteX17" fmla="*/ 6452582 w 6937913"/>
              <a:gd name="connsiteY17" fmla="*/ 3916470 h 6116502"/>
              <a:gd name="connsiteX18" fmla="*/ 5895085 w 6937913"/>
              <a:gd name="connsiteY18" fmla="*/ 4192616 h 6116502"/>
              <a:gd name="connsiteX19" fmla="*/ 5486018 w 6937913"/>
              <a:gd name="connsiteY19" fmla="*/ 4381617 h 6116502"/>
              <a:gd name="connsiteX20" fmla="*/ 5193420 w 6937913"/>
              <a:gd name="connsiteY20" fmla="*/ 4681674 h 6116502"/>
              <a:gd name="connsiteX21" fmla="*/ 5002177 w 6937913"/>
              <a:gd name="connsiteY21" fmla="*/ 5301747 h 6116502"/>
              <a:gd name="connsiteX22" fmla="*/ 4429700 w 6937913"/>
              <a:gd name="connsiteY22" fmla="*/ 5634550 h 6116502"/>
              <a:gd name="connsiteX23" fmla="*/ 3988258 w 6937913"/>
              <a:gd name="connsiteY23" fmla="*/ 5602377 h 6116502"/>
              <a:gd name="connsiteX24" fmla="*/ 3528916 w 6937913"/>
              <a:gd name="connsiteY24" fmla="*/ 5339651 h 6116502"/>
              <a:gd name="connsiteX25" fmla="*/ 2920028 w 6937913"/>
              <a:gd name="connsiteY25" fmla="*/ 5632598 h 6116502"/>
              <a:gd name="connsiteX26" fmla="*/ 2466085 w 6937913"/>
              <a:gd name="connsiteY26" fmla="*/ 5851429 h 6116502"/>
              <a:gd name="connsiteX27" fmla="*/ 1755477 w 6937913"/>
              <a:gd name="connsiteY27" fmla="*/ 6060622 h 6116502"/>
              <a:gd name="connsiteX28" fmla="*/ 994840 w 6937913"/>
              <a:gd name="connsiteY28" fmla="*/ 6098267 h 6116502"/>
              <a:gd name="connsiteX29" fmla="*/ 193111 w 6937913"/>
              <a:gd name="connsiteY29" fmla="*/ 5745272 h 6116502"/>
              <a:gd name="connsiteX30" fmla="*/ 29763 w 6937913"/>
              <a:gd name="connsiteY30" fmla="*/ 4204724 h 6116502"/>
              <a:gd name="connsiteX0" fmla="*/ 29763 w 6937913"/>
              <a:gd name="connsiteY0" fmla="*/ 4204724 h 6116502"/>
              <a:gd name="connsiteX1" fmla="*/ 294000 w 6937913"/>
              <a:gd name="connsiteY1" fmla="*/ 2975498 h 6116502"/>
              <a:gd name="connsiteX2" fmla="*/ 777961 w 6937913"/>
              <a:gd name="connsiteY2" fmla="*/ 2328643 h 6116502"/>
              <a:gd name="connsiteX3" fmla="*/ 1062513 w 6937913"/>
              <a:gd name="connsiteY3" fmla="*/ 2122318 h 6116502"/>
              <a:gd name="connsiteX4" fmla="*/ 1939789 w 6937913"/>
              <a:gd name="connsiteY4" fmla="*/ 1901534 h 6116502"/>
              <a:gd name="connsiteX5" fmla="*/ 2530502 w 6937913"/>
              <a:gd name="connsiteY5" fmla="*/ 1669679 h 6116502"/>
              <a:gd name="connsiteX6" fmla="*/ 2699182 w 6937913"/>
              <a:gd name="connsiteY6" fmla="*/ 1366181 h 6116502"/>
              <a:gd name="connsiteX7" fmla="*/ 2662122 w 6937913"/>
              <a:gd name="connsiteY7" fmla="*/ 998725 h 6116502"/>
              <a:gd name="connsiteX8" fmla="*/ 2715651 w 6937913"/>
              <a:gd name="connsiteY8" fmla="*/ 41078 h 6116502"/>
              <a:gd name="connsiteX9" fmla="*/ 4700573 w 6937913"/>
              <a:gd name="connsiteY9" fmla="*/ 166520 h 6116502"/>
              <a:gd name="connsiteX10" fmla="*/ 5437824 w 6937913"/>
              <a:gd name="connsiteY10" fmla="*/ 719458 h 6116502"/>
              <a:gd name="connsiteX11" fmla="*/ 5600704 w 6937913"/>
              <a:gd name="connsiteY11" fmla="*/ 1180434 h 6116502"/>
              <a:gd name="connsiteX12" fmla="*/ 5801239 w 6937913"/>
              <a:gd name="connsiteY12" fmla="*/ 1497740 h 6116502"/>
              <a:gd name="connsiteX13" fmla="*/ 6500543 w 6937913"/>
              <a:gd name="connsiteY13" fmla="*/ 1545750 h 6116502"/>
              <a:gd name="connsiteX14" fmla="*/ 6839384 w 6937913"/>
              <a:gd name="connsiteY14" fmla="*/ 1789515 h 6116502"/>
              <a:gd name="connsiteX15" fmla="*/ 6937913 w 6937913"/>
              <a:gd name="connsiteY15" fmla="*/ 2575218 h 6116502"/>
              <a:gd name="connsiteX16" fmla="*/ 6807471 w 6937913"/>
              <a:gd name="connsiteY16" fmla="*/ 3444422 h 6116502"/>
              <a:gd name="connsiteX17" fmla="*/ 6452582 w 6937913"/>
              <a:gd name="connsiteY17" fmla="*/ 3916470 h 6116502"/>
              <a:gd name="connsiteX18" fmla="*/ 5895085 w 6937913"/>
              <a:gd name="connsiteY18" fmla="*/ 4192616 h 6116502"/>
              <a:gd name="connsiteX19" fmla="*/ 5486018 w 6937913"/>
              <a:gd name="connsiteY19" fmla="*/ 4381617 h 6116502"/>
              <a:gd name="connsiteX20" fmla="*/ 5193420 w 6937913"/>
              <a:gd name="connsiteY20" fmla="*/ 4681674 h 6116502"/>
              <a:gd name="connsiteX21" fmla="*/ 5002177 w 6937913"/>
              <a:gd name="connsiteY21" fmla="*/ 5301747 h 6116502"/>
              <a:gd name="connsiteX22" fmla="*/ 4429700 w 6937913"/>
              <a:gd name="connsiteY22" fmla="*/ 5634550 h 6116502"/>
              <a:gd name="connsiteX23" fmla="*/ 3988258 w 6937913"/>
              <a:gd name="connsiteY23" fmla="*/ 5602377 h 6116502"/>
              <a:gd name="connsiteX24" fmla="*/ 3528916 w 6937913"/>
              <a:gd name="connsiteY24" fmla="*/ 5339651 h 6116502"/>
              <a:gd name="connsiteX25" fmla="*/ 2920028 w 6937913"/>
              <a:gd name="connsiteY25" fmla="*/ 5632598 h 6116502"/>
              <a:gd name="connsiteX26" fmla="*/ 2466085 w 6937913"/>
              <a:gd name="connsiteY26" fmla="*/ 5851429 h 6116502"/>
              <a:gd name="connsiteX27" fmla="*/ 1755477 w 6937913"/>
              <a:gd name="connsiteY27" fmla="*/ 6060622 h 6116502"/>
              <a:gd name="connsiteX28" fmla="*/ 994840 w 6937913"/>
              <a:gd name="connsiteY28" fmla="*/ 6098267 h 6116502"/>
              <a:gd name="connsiteX29" fmla="*/ 193111 w 6937913"/>
              <a:gd name="connsiteY29" fmla="*/ 5745272 h 6116502"/>
              <a:gd name="connsiteX30" fmla="*/ 29763 w 6937913"/>
              <a:gd name="connsiteY30" fmla="*/ 4204724 h 6116502"/>
              <a:gd name="connsiteX0" fmla="*/ 29763 w 6937913"/>
              <a:gd name="connsiteY0" fmla="*/ 4204724 h 6116502"/>
              <a:gd name="connsiteX1" fmla="*/ 294000 w 6937913"/>
              <a:gd name="connsiteY1" fmla="*/ 2975498 h 6116502"/>
              <a:gd name="connsiteX2" fmla="*/ 777961 w 6937913"/>
              <a:gd name="connsiteY2" fmla="*/ 2328643 h 6116502"/>
              <a:gd name="connsiteX3" fmla="*/ 1062513 w 6937913"/>
              <a:gd name="connsiteY3" fmla="*/ 2122318 h 6116502"/>
              <a:gd name="connsiteX4" fmla="*/ 1939789 w 6937913"/>
              <a:gd name="connsiteY4" fmla="*/ 1901534 h 6116502"/>
              <a:gd name="connsiteX5" fmla="*/ 2530502 w 6937913"/>
              <a:gd name="connsiteY5" fmla="*/ 1669679 h 6116502"/>
              <a:gd name="connsiteX6" fmla="*/ 2699182 w 6937913"/>
              <a:gd name="connsiteY6" fmla="*/ 1366181 h 6116502"/>
              <a:gd name="connsiteX7" fmla="*/ 2662122 w 6937913"/>
              <a:gd name="connsiteY7" fmla="*/ 998725 h 6116502"/>
              <a:gd name="connsiteX8" fmla="*/ 2715651 w 6937913"/>
              <a:gd name="connsiteY8" fmla="*/ 41078 h 6116502"/>
              <a:gd name="connsiteX9" fmla="*/ 4700573 w 6937913"/>
              <a:gd name="connsiteY9" fmla="*/ 166520 h 6116502"/>
              <a:gd name="connsiteX10" fmla="*/ 5437824 w 6937913"/>
              <a:gd name="connsiteY10" fmla="*/ 719458 h 6116502"/>
              <a:gd name="connsiteX11" fmla="*/ 5600704 w 6937913"/>
              <a:gd name="connsiteY11" fmla="*/ 1180434 h 6116502"/>
              <a:gd name="connsiteX12" fmla="*/ 5801239 w 6937913"/>
              <a:gd name="connsiteY12" fmla="*/ 1497740 h 6116502"/>
              <a:gd name="connsiteX13" fmla="*/ 6500543 w 6937913"/>
              <a:gd name="connsiteY13" fmla="*/ 1545750 h 6116502"/>
              <a:gd name="connsiteX14" fmla="*/ 6839384 w 6937913"/>
              <a:gd name="connsiteY14" fmla="*/ 1789515 h 6116502"/>
              <a:gd name="connsiteX15" fmla="*/ 6937913 w 6937913"/>
              <a:gd name="connsiteY15" fmla="*/ 2575218 h 6116502"/>
              <a:gd name="connsiteX16" fmla="*/ 6807471 w 6937913"/>
              <a:gd name="connsiteY16" fmla="*/ 3444422 h 6116502"/>
              <a:gd name="connsiteX17" fmla="*/ 6452582 w 6937913"/>
              <a:gd name="connsiteY17" fmla="*/ 3916470 h 6116502"/>
              <a:gd name="connsiteX18" fmla="*/ 5895085 w 6937913"/>
              <a:gd name="connsiteY18" fmla="*/ 4192616 h 6116502"/>
              <a:gd name="connsiteX19" fmla="*/ 5486018 w 6937913"/>
              <a:gd name="connsiteY19" fmla="*/ 4381617 h 6116502"/>
              <a:gd name="connsiteX20" fmla="*/ 5193420 w 6937913"/>
              <a:gd name="connsiteY20" fmla="*/ 4681674 h 6116502"/>
              <a:gd name="connsiteX21" fmla="*/ 5002177 w 6937913"/>
              <a:gd name="connsiteY21" fmla="*/ 5301747 h 6116502"/>
              <a:gd name="connsiteX22" fmla="*/ 4429700 w 6937913"/>
              <a:gd name="connsiteY22" fmla="*/ 5634550 h 6116502"/>
              <a:gd name="connsiteX23" fmla="*/ 3988258 w 6937913"/>
              <a:gd name="connsiteY23" fmla="*/ 5602377 h 6116502"/>
              <a:gd name="connsiteX24" fmla="*/ 3528916 w 6937913"/>
              <a:gd name="connsiteY24" fmla="*/ 5339651 h 6116502"/>
              <a:gd name="connsiteX25" fmla="*/ 2920028 w 6937913"/>
              <a:gd name="connsiteY25" fmla="*/ 5632598 h 6116502"/>
              <a:gd name="connsiteX26" fmla="*/ 2466085 w 6937913"/>
              <a:gd name="connsiteY26" fmla="*/ 5851429 h 6116502"/>
              <a:gd name="connsiteX27" fmla="*/ 1755477 w 6937913"/>
              <a:gd name="connsiteY27" fmla="*/ 6060622 h 6116502"/>
              <a:gd name="connsiteX28" fmla="*/ 994840 w 6937913"/>
              <a:gd name="connsiteY28" fmla="*/ 6098267 h 6116502"/>
              <a:gd name="connsiteX29" fmla="*/ 193111 w 6937913"/>
              <a:gd name="connsiteY29" fmla="*/ 5745272 h 6116502"/>
              <a:gd name="connsiteX30" fmla="*/ 29763 w 6937913"/>
              <a:gd name="connsiteY30" fmla="*/ 4204724 h 6116502"/>
              <a:gd name="connsiteX0" fmla="*/ 29763 w 6937913"/>
              <a:gd name="connsiteY0" fmla="*/ 4204724 h 6116502"/>
              <a:gd name="connsiteX1" fmla="*/ 294000 w 6937913"/>
              <a:gd name="connsiteY1" fmla="*/ 2975498 h 6116502"/>
              <a:gd name="connsiteX2" fmla="*/ 777961 w 6937913"/>
              <a:gd name="connsiteY2" fmla="*/ 2328643 h 6116502"/>
              <a:gd name="connsiteX3" fmla="*/ 1062513 w 6937913"/>
              <a:gd name="connsiteY3" fmla="*/ 2122318 h 6116502"/>
              <a:gd name="connsiteX4" fmla="*/ 1939789 w 6937913"/>
              <a:gd name="connsiteY4" fmla="*/ 1901534 h 6116502"/>
              <a:gd name="connsiteX5" fmla="*/ 2530502 w 6937913"/>
              <a:gd name="connsiteY5" fmla="*/ 1669679 h 6116502"/>
              <a:gd name="connsiteX6" fmla="*/ 2699182 w 6937913"/>
              <a:gd name="connsiteY6" fmla="*/ 1366181 h 6116502"/>
              <a:gd name="connsiteX7" fmla="*/ 2662122 w 6937913"/>
              <a:gd name="connsiteY7" fmla="*/ 998725 h 6116502"/>
              <a:gd name="connsiteX8" fmla="*/ 2715651 w 6937913"/>
              <a:gd name="connsiteY8" fmla="*/ 41078 h 6116502"/>
              <a:gd name="connsiteX9" fmla="*/ 4700573 w 6937913"/>
              <a:gd name="connsiteY9" fmla="*/ 166520 h 6116502"/>
              <a:gd name="connsiteX10" fmla="*/ 5437824 w 6937913"/>
              <a:gd name="connsiteY10" fmla="*/ 719458 h 6116502"/>
              <a:gd name="connsiteX11" fmla="*/ 5600704 w 6937913"/>
              <a:gd name="connsiteY11" fmla="*/ 1180434 h 6116502"/>
              <a:gd name="connsiteX12" fmla="*/ 5801239 w 6937913"/>
              <a:gd name="connsiteY12" fmla="*/ 1497740 h 6116502"/>
              <a:gd name="connsiteX13" fmla="*/ 6500543 w 6937913"/>
              <a:gd name="connsiteY13" fmla="*/ 1545750 h 6116502"/>
              <a:gd name="connsiteX14" fmla="*/ 6839384 w 6937913"/>
              <a:gd name="connsiteY14" fmla="*/ 1789515 h 6116502"/>
              <a:gd name="connsiteX15" fmla="*/ 6937913 w 6937913"/>
              <a:gd name="connsiteY15" fmla="*/ 2575218 h 6116502"/>
              <a:gd name="connsiteX16" fmla="*/ 6807471 w 6937913"/>
              <a:gd name="connsiteY16" fmla="*/ 3444422 h 6116502"/>
              <a:gd name="connsiteX17" fmla="*/ 6452582 w 6937913"/>
              <a:gd name="connsiteY17" fmla="*/ 3916470 h 6116502"/>
              <a:gd name="connsiteX18" fmla="*/ 5895085 w 6937913"/>
              <a:gd name="connsiteY18" fmla="*/ 4192616 h 6116502"/>
              <a:gd name="connsiteX19" fmla="*/ 5486018 w 6937913"/>
              <a:gd name="connsiteY19" fmla="*/ 4381617 h 6116502"/>
              <a:gd name="connsiteX20" fmla="*/ 5193420 w 6937913"/>
              <a:gd name="connsiteY20" fmla="*/ 4681674 h 6116502"/>
              <a:gd name="connsiteX21" fmla="*/ 5002177 w 6937913"/>
              <a:gd name="connsiteY21" fmla="*/ 5301747 h 6116502"/>
              <a:gd name="connsiteX22" fmla="*/ 4429700 w 6937913"/>
              <a:gd name="connsiteY22" fmla="*/ 5634550 h 6116502"/>
              <a:gd name="connsiteX23" fmla="*/ 3988258 w 6937913"/>
              <a:gd name="connsiteY23" fmla="*/ 5602377 h 6116502"/>
              <a:gd name="connsiteX24" fmla="*/ 3528916 w 6937913"/>
              <a:gd name="connsiteY24" fmla="*/ 5339651 h 6116502"/>
              <a:gd name="connsiteX25" fmla="*/ 2920028 w 6937913"/>
              <a:gd name="connsiteY25" fmla="*/ 5632598 h 6116502"/>
              <a:gd name="connsiteX26" fmla="*/ 2466085 w 6937913"/>
              <a:gd name="connsiteY26" fmla="*/ 5851429 h 6116502"/>
              <a:gd name="connsiteX27" fmla="*/ 1755477 w 6937913"/>
              <a:gd name="connsiteY27" fmla="*/ 6060622 h 6116502"/>
              <a:gd name="connsiteX28" fmla="*/ 994840 w 6937913"/>
              <a:gd name="connsiteY28" fmla="*/ 6098267 h 6116502"/>
              <a:gd name="connsiteX29" fmla="*/ 193111 w 6937913"/>
              <a:gd name="connsiteY29" fmla="*/ 5745272 h 6116502"/>
              <a:gd name="connsiteX30" fmla="*/ 29763 w 6937913"/>
              <a:gd name="connsiteY30" fmla="*/ 4204724 h 6116502"/>
              <a:gd name="connsiteX0" fmla="*/ 29763 w 6937913"/>
              <a:gd name="connsiteY0" fmla="*/ 4204724 h 6116502"/>
              <a:gd name="connsiteX1" fmla="*/ 294000 w 6937913"/>
              <a:gd name="connsiteY1" fmla="*/ 2975498 h 6116502"/>
              <a:gd name="connsiteX2" fmla="*/ 777961 w 6937913"/>
              <a:gd name="connsiteY2" fmla="*/ 2328643 h 6116502"/>
              <a:gd name="connsiteX3" fmla="*/ 1062513 w 6937913"/>
              <a:gd name="connsiteY3" fmla="*/ 2122318 h 6116502"/>
              <a:gd name="connsiteX4" fmla="*/ 1939789 w 6937913"/>
              <a:gd name="connsiteY4" fmla="*/ 1901534 h 6116502"/>
              <a:gd name="connsiteX5" fmla="*/ 2530502 w 6937913"/>
              <a:gd name="connsiteY5" fmla="*/ 1669679 h 6116502"/>
              <a:gd name="connsiteX6" fmla="*/ 2699182 w 6937913"/>
              <a:gd name="connsiteY6" fmla="*/ 1366181 h 6116502"/>
              <a:gd name="connsiteX7" fmla="*/ 2662122 w 6937913"/>
              <a:gd name="connsiteY7" fmla="*/ 998725 h 6116502"/>
              <a:gd name="connsiteX8" fmla="*/ 2715651 w 6937913"/>
              <a:gd name="connsiteY8" fmla="*/ 41078 h 6116502"/>
              <a:gd name="connsiteX9" fmla="*/ 4700573 w 6937913"/>
              <a:gd name="connsiteY9" fmla="*/ 166520 h 6116502"/>
              <a:gd name="connsiteX10" fmla="*/ 5437824 w 6937913"/>
              <a:gd name="connsiteY10" fmla="*/ 719458 h 6116502"/>
              <a:gd name="connsiteX11" fmla="*/ 5600704 w 6937913"/>
              <a:gd name="connsiteY11" fmla="*/ 1180434 h 6116502"/>
              <a:gd name="connsiteX12" fmla="*/ 5801239 w 6937913"/>
              <a:gd name="connsiteY12" fmla="*/ 1497740 h 6116502"/>
              <a:gd name="connsiteX13" fmla="*/ 6500543 w 6937913"/>
              <a:gd name="connsiteY13" fmla="*/ 1545750 h 6116502"/>
              <a:gd name="connsiteX14" fmla="*/ 6839384 w 6937913"/>
              <a:gd name="connsiteY14" fmla="*/ 1789515 h 6116502"/>
              <a:gd name="connsiteX15" fmla="*/ 6937913 w 6937913"/>
              <a:gd name="connsiteY15" fmla="*/ 2575218 h 6116502"/>
              <a:gd name="connsiteX16" fmla="*/ 6807471 w 6937913"/>
              <a:gd name="connsiteY16" fmla="*/ 3444422 h 6116502"/>
              <a:gd name="connsiteX17" fmla="*/ 6452582 w 6937913"/>
              <a:gd name="connsiteY17" fmla="*/ 3916470 h 6116502"/>
              <a:gd name="connsiteX18" fmla="*/ 5895085 w 6937913"/>
              <a:gd name="connsiteY18" fmla="*/ 4192616 h 6116502"/>
              <a:gd name="connsiteX19" fmla="*/ 5486018 w 6937913"/>
              <a:gd name="connsiteY19" fmla="*/ 4381617 h 6116502"/>
              <a:gd name="connsiteX20" fmla="*/ 5193420 w 6937913"/>
              <a:gd name="connsiteY20" fmla="*/ 4681674 h 6116502"/>
              <a:gd name="connsiteX21" fmla="*/ 5002177 w 6937913"/>
              <a:gd name="connsiteY21" fmla="*/ 5301747 h 6116502"/>
              <a:gd name="connsiteX22" fmla="*/ 4429700 w 6937913"/>
              <a:gd name="connsiteY22" fmla="*/ 5634550 h 6116502"/>
              <a:gd name="connsiteX23" fmla="*/ 3988258 w 6937913"/>
              <a:gd name="connsiteY23" fmla="*/ 5602377 h 6116502"/>
              <a:gd name="connsiteX24" fmla="*/ 3528916 w 6937913"/>
              <a:gd name="connsiteY24" fmla="*/ 5339651 h 6116502"/>
              <a:gd name="connsiteX25" fmla="*/ 2920028 w 6937913"/>
              <a:gd name="connsiteY25" fmla="*/ 5632598 h 6116502"/>
              <a:gd name="connsiteX26" fmla="*/ 2466085 w 6937913"/>
              <a:gd name="connsiteY26" fmla="*/ 5851429 h 6116502"/>
              <a:gd name="connsiteX27" fmla="*/ 1755477 w 6937913"/>
              <a:gd name="connsiteY27" fmla="*/ 6060622 h 6116502"/>
              <a:gd name="connsiteX28" fmla="*/ 994840 w 6937913"/>
              <a:gd name="connsiteY28" fmla="*/ 6098267 h 6116502"/>
              <a:gd name="connsiteX29" fmla="*/ 193111 w 6937913"/>
              <a:gd name="connsiteY29" fmla="*/ 5745272 h 6116502"/>
              <a:gd name="connsiteX30" fmla="*/ 29763 w 6937913"/>
              <a:gd name="connsiteY30" fmla="*/ 4204724 h 6116502"/>
              <a:gd name="connsiteX0" fmla="*/ 29763 w 6937913"/>
              <a:gd name="connsiteY0" fmla="*/ 4204724 h 6116502"/>
              <a:gd name="connsiteX1" fmla="*/ 294000 w 6937913"/>
              <a:gd name="connsiteY1" fmla="*/ 2975498 h 6116502"/>
              <a:gd name="connsiteX2" fmla="*/ 777961 w 6937913"/>
              <a:gd name="connsiteY2" fmla="*/ 2328643 h 6116502"/>
              <a:gd name="connsiteX3" fmla="*/ 1062513 w 6937913"/>
              <a:gd name="connsiteY3" fmla="*/ 2122318 h 6116502"/>
              <a:gd name="connsiteX4" fmla="*/ 1939789 w 6937913"/>
              <a:gd name="connsiteY4" fmla="*/ 1901534 h 6116502"/>
              <a:gd name="connsiteX5" fmla="*/ 2530502 w 6937913"/>
              <a:gd name="connsiteY5" fmla="*/ 1669679 h 6116502"/>
              <a:gd name="connsiteX6" fmla="*/ 2699182 w 6937913"/>
              <a:gd name="connsiteY6" fmla="*/ 1366181 h 6116502"/>
              <a:gd name="connsiteX7" fmla="*/ 2662122 w 6937913"/>
              <a:gd name="connsiteY7" fmla="*/ 998725 h 6116502"/>
              <a:gd name="connsiteX8" fmla="*/ 2715651 w 6937913"/>
              <a:gd name="connsiteY8" fmla="*/ 41078 h 6116502"/>
              <a:gd name="connsiteX9" fmla="*/ 4700573 w 6937913"/>
              <a:gd name="connsiteY9" fmla="*/ 166520 h 6116502"/>
              <a:gd name="connsiteX10" fmla="*/ 5437824 w 6937913"/>
              <a:gd name="connsiteY10" fmla="*/ 719458 h 6116502"/>
              <a:gd name="connsiteX11" fmla="*/ 5600704 w 6937913"/>
              <a:gd name="connsiteY11" fmla="*/ 1180434 h 6116502"/>
              <a:gd name="connsiteX12" fmla="*/ 5801239 w 6937913"/>
              <a:gd name="connsiteY12" fmla="*/ 1497740 h 6116502"/>
              <a:gd name="connsiteX13" fmla="*/ 6500543 w 6937913"/>
              <a:gd name="connsiteY13" fmla="*/ 1545750 h 6116502"/>
              <a:gd name="connsiteX14" fmla="*/ 6839384 w 6937913"/>
              <a:gd name="connsiteY14" fmla="*/ 1789515 h 6116502"/>
              <a:gd name="connsiteX15" fmla="*/ 6937913 w 6937913"/>
              <a:gd name="connsiteY15" fmla="*/ 2575218 h 6116502"/>
              <a:gd name="connsiteX16" fmla="*/ 6807471 w 6937913"/>
              <a:gd name="connsiteY16" fmla="*/ 3444422 h 6116502"/>
              <a:gd name="connsiteX17" fmla="*/ 6452582 w 6937913"/>
              <a:gd name="connsiteY17" fmla="*/ 3916470 h 6116502"/>
              <a:gd name="connsiteX18" fmla="*/ 5895085 w 6937913"/>
              <a:gd name="connsiteY18" fmla="*/ 4192616 h 6116502"/>
              <a:gd name="connsiteX19" fmla="*/ 5486018 w 6937913"/>
              <a:gd name="connsiteY19" fmla="*/ 4381617 h 6116502"/>
              <a:gd name="connsiteX20" fmla="*/ 5193420 w 6937913"/>
              <a:gd name="connsiteY20" fmla="*/ 4681674 h 6116502"/>
              <a:gd name="connsiteX21" fmla="*/ 5002177 w 6937913"/>
              <a:gd name="connsiteY21" fmla="*/ 5301747 h 6116502"/>
              <a:gd name="connsiteX22" fmla="*/ 4429700 w 6937913"/>
              <a:gd name="connsiteY22" fmla="*/ 5634550 h 6116502"/>
              <a:gd name="connsiteX23" fmla="*/ 3988258 w 6937913"/>
              <a:gd name="connsiteY23" fmla="*/ 5602377 h 6116502"/>
              <a:gd name="connsiteX24" fmla="*/ 3528916 w 6937913"/>
              <a:gd name="connsiteY24" fmla="*/ 5339651 h 6116502"/>
              <a:gd name="connsiteX25" fmla="*/ 2920028 w 6937913"/>
              <a:gd name="connsiteY25" fmla="*/ 5632598 h 6116502"/>
              <a:gd name="connsiteX26" fmla="*/ 2466085 w 6937913"/>
              <a:gd name="connsiteY26" fmla="*/ 5851429 h 6116502"/>
              <a:gd name="connsiteX27" fmla="*/ 1755477 w 6937913"/>
              <a:gd name="connsiteY27" fmla="*/ 6060622 h 6116502"/>
              <a:gd name="connsiteX28" fmla="*/ 994840 w 6937913"/>
              <a:gd name="connsiteY28" fmla="*/ 6098267 h 6116502"/>
              <a:gd name="connsiteX29" fmla="*/ 193111 w 6937913"/>
              <a:gd name="connsiteY29" fmla="*/ 5745272 h 6116502"/>
              <a:gd name="connsiteX30" fmla="*/ 29763 w 6937913"/>
              <a:gd name="connsiteY30" fmla="*/ 4204724 h 6116502"/>
              <a:gd name="connsiteX0" fmla="*/ 29763 w 6937913"/>
              <a:gd name="connsiteY0" fmla="*/ 4204724 h 6116502"/>
              <a:gd name="connsiteX1" fmla="*/ 294000 w 6937913"/>
              <a:gd name="connsiteY1" fmla="*/ 2975498 h 6116502"/>
              <a:gd name="connsiteX2" fmla="*/ 777961 w 6937913"/>
              <a:gd name="connsiteY2" fmla="*/ 2328643 h 6116502"/>
              <a:gd name="connsiteX3" fmla="*/ 1062513 w 6937913"/>
              <a:gd name="connsiteY3" fmla="*/ 2122318 h 6116502"/>
              <a:gd name="connsiteX4" fmla="*/ 1939789 w 6937913"/>
              <a:gd name="connsiteY4" fmla="*/ 1901534 h 6116502"/>
              <a:gd name="connsiteX5" fmla="*/ 2530502 w 6937913"/>
              <a:gd name="connsiteY5" fmla="*/ 1669679 h 6116502"/>
              <a:gd name="connsiteX6" fmla="*/ 2699182 w 6937913"/>
              <a:gd name="connsiteY6" fmla="*/ 1366181 h 6116502"/>
              <a:gd name="connsiteX7" fmla="*/ 2662122 w 6937913"/>
              <a:gd name="connsiteY7" fmla="*/ 998725 h 6116502"/>
              <a:gd name="connsiteX8" fmla="*/ 2715651 w 6937913"/>
              <a:gd name="connsiteY8" fmla="*/ 41078 h 6116502"/>
              <a:gd name="connsiteX9" fmla="*/ 4700573 w 6937913"/>
              <a:gd name="connsiteY9" fmla="*/ 166520 h 6116502"/>
              <a:gd name="connsiteX10" fmla="*/ 5437824 w 6937913"/>
              <a:gd name="connsiteY10" fmla="*/ 719458 h 6116502"/>
              <a:gd name="connsiteX11" fmla="*/ 5600704 w 6937913"/>
              <a:gd name="connsiteY11" fmla="*/ 1180434 h 6116502"/>
              <a:gd name="connsiteX12" fmla="*/ 5801239 w 6937913"/>
              <a:gd name="connsiteY12" fmla="*/ 1497740 h 6116502"/>
              <a:gd name="connsiteX13" fmla="*/ 6500543 w 6937913"/>
              <a:gd name="connsiteY13" fmla="*/ 1545750 h 6116502"/>
              <a:gd name="connsiteX14" fmla="*/ 6839384 w 6937913"/>
              <a:gd name="connsiteY14" fmla="*/ 1789515 h 6116502"/>
              <a:gd name="connsiteX15" fmla="*/ 6937913 w 6937913"/>
              <a:gd name="connsiteY15" fmla="*/ 2575218 h 6116502"/>
              <a:gd name="connsiteX16" fmla="*/ 6807471 w 6937913"/>
              <a:gd name="connsiteY16" fmla="*/ 3444422 h 6116502"/>
              <a:gd name="connsiteX17" fmla="*/ 6452582 w 6937913"/>
              <a:gd name="connsiteY17" fmla="*/ 3916470 h 6116502"/>
              <a:gd name="connsiteX18" fmla="*/ 5895085 w 6937913"/>
              <a:gd name="connsiteY18" fmla="*/ 4192616 h 6116502"/>
              <a:gd name="connsiteX19" fmla="*/ 5486018 w 6937913"/>
              <a:gd name="connsiteY19" fmla="*/ 4381617 h 6116502"/>
              <a:gd name="connsiteX20" fmla="*/ 5193420 w 6937913"/>
              <a:gd name="connsiteY20" fmla="*/ 4681674 h 6116502"/>
              <a:gd name="connsiteX21" fmla="*/ 5002177 w 6937913"/>
              <a:gd name="connsiteY21" fmla="*/ 5301747 h 6116502"/>
              <a:gd name="connsiteX22" fmla="*/ 4429700 w 6937913"/>
              <a:gd name="connsiteY22" fmla="*/ 5634550 h 6116502"/>
              <a:gd name="connsiteX23" fmla="*/ 3988258 w 6937913"/>
              <a:gd name="connsiteY23" fmla="*/ 5602377 h 6116502"/>
              <a:gd name="connsiteX24" fmla="*/ 3528916 w 6937913"/>
              <a:gd name="connsiteY24" fmla="*/ 5339651 h 6116502"/>
              <a:gd name="connsiteX25" fmla="*/ 2920028 w 6937913"/>
              <a:gd name="connsiteY25" fmla="*/ 5632598 h 6116502"/>
              <a:gd name="connsiteX26" fmla="*/ 2466085 w 6937913"/>
              <a:gd name="connsiteY26" fmla="*/ 5851429 h 6116502"/>
              <a:gd name="connsiteX27" fmla="*/ 1755477 w 6937913"/>
              <a:gd name="connsiteY27" fmla="*/ 6060622 h 6116502"/>
              <a:gd name="connsiteX28" fmla="*/ 994840 w 6937913"/>
              <a:gd name="connsiteY28" fmla="*/ 6098267 h 6116502"/>
              <a:gd name="connsiteX29" fmla="*/ 193111 w 6937913"/>
              <a:gd name="connsiteY29" fmla="*/ 5745272 h 6116502"/>
              <a:gd name="connsiteX30" fmla="*/ 29763 w 6937913"/>
              <a:gd name="connsiteY30" fmla="*/ 4204724 h 6116502"/>
              <a:gd name="connsiteX0" fmla="*/ 29763 w 6937913"/>
              <a:gd name="connsiteY0" fmla="*/ 4204724 h 6116502"/>
              <a:gd name="connsiteX1" fmla="*/ 294000 w 6937913"/>
              <a:gd name="connsiteY1" fmla="*/ 2975498 h 6116502"/>
              <a:gd name="connsiteX2" fmla="*/ 777961 w 6937913"/>
              <a:gd name="connsiteY2" fmla="*/ 2328643 h 6116502"/>
              <a:gd name="connsiteX3" fmla="*/ 1062513 w 6937913"/>
              <a:gd name="connsiteY3" fmla="*/ 2122318 h 6116502"/>
              <a:gd name="connsiteX4" fmla="*/ 1939789 w 6937913"/>
              <a:gd name="connsiteY4" fmla="*/ 1901534 h 6116502"/>
              <a:gd name="connsiteX5" fmla="*/ 2530502 w 6937913"/>
              <a:gd name="connsiteY5" fmla="*/ 1669679 h 6116502"/>
              <a:gd name="connsiteX6" fmla="*/ 2699182 w 6937913"/>
              <a:gd name="connsiteY6" fmla="*/ 1366181 h 6116502"/>
              <a:gd name="connsiteX7" fmla="*/ 2662122 w 6937913"/>
              <a:gd name="connsiteY7" fmla="*/ 998725 h 6116502"/>
              <a:gd name="connsiteX8" fmla="*/ 2715651 w 6937913"/>
              <a:gd name="connsiteY8" fmla="*/ 41078 h 6116502"/>
              <a:gd name="connsiteX9" fmla="*/ 4700573 w 6937913"/>
              <a:gd name="connsiteY9" fmla="*/ 166520 h 6116502"/>
              <a:gd name="connsiteX10" fmla="*/ 5437824 w 6937913"/>
              <a:gd name="connsiteY10" fmla="*/ 719458 h 6116502"/>
              <a:gd name="connsiteX11" fmla="*/ 5600704 w 6937913"/>
              <a:gd name="connsiteY11" fmla="*/ 1180434 h 6116502"/>
              <a:gd name="connsiteX12" fmla="*/ 5801239 w 6937913"/>
              <a:gd name="connsiteY12" fmla="*/ 1497740 h 6116502"/>
              <a:gd name="connsiteX13" fmla="*/ 6500543 w 6937913"/>
              <a:gd name="connsiteY13" fmla="*/ 1545750 h 6116502"/>
              <a:gd name="connsiteX14" fmla="*/ 6839384 w 6937913"/>
              <a:gd name="connsiteY14" fmla="*/ 1789515 h 6116502"/>
              <a:gd name="connsiteX15" fmla="*/ 6937913 w 6937913"/>
              <a:gd name="connsiteY15" fmla="*/ 2575218 h 6116502"/>
              <a:gd name="connsiteX16" fmla="*/ 6807471 w 6937913"/>
              <a:gd name="connsiteY16" fmla="*/ 3444422 h 6116502"/>
              <a:gd name="connsiteX17" fmla="*/ 6452582 w 6937913"/>
              <a:gd name="connsiteY17" fmla="*/ 3916470 h 6116502"/>
              <a:gd name="connsiteX18" fmla="*/ 5895085 w 6937913"/>
              <a:gd name="connsiteY18" fmla="*/ 4192616 h 6116502"/>
              <a:gd name="connsiteX19" fmla="*/ 5486018 w 6937913"/>
              <a:gd name="connsiteY19" fmla="*/ 4381617 h 6116502"/>
              <a:gd name="connsiteX20" fmla="*/ 5193420 w 6937913"/>
              <a:gd name="connsiteY20" fmla="*/ 4681674 h 6116502"/>
              <a:gd name="connsiteX21" fmla="*/ 5002177 w 6937913"/>
              <a:gd name="connsiteY21" fmla="*/ 5301747 h 6116502"/>
              <a:gd name="connsiteX22" fmla="*/ 4429700 w 6937913"/>
              <a:gd name="connsiteY22" fmla="*/ 5634550 h 6116502"/>
              <a:gd name="connsiteX23" fmla="*/ 3988258 w 6937913"/>
              <a:gd name="connsiteY23" fmla="*/ 5602377 h 6116502"/>
              <a:gd name="connsiteX24" fmla="*/ 3528916 w 6937913"/>
              <a:gd name="connsiteY24" fmla="*/ 5339651 h 6116502"/>
              <a:gd name="connsiteX25" fmla="*/ 2920028 w 6937913"/>
              <a:gd name="connsiteY25" fmla="*/ 5632598 h 6116502"/>
              <a:gd name="connsiteX26" fmla="*/ 2466085 w 6937913"/>
              <a:gd name="connsiteY26" fmla="*/ 5851429 h 6116502"/>
              <a:gd name="connsiteX27" fmla="*/ 1755477 w 6937913"/>
              <a:gd name="connsiteY27" fmla="*/ 6060622 h 6116502"/>
              <a:gd name="connsiteX28" fmla="*/ 994840 w 6937913"/>
              <a:gd name="connsiteY28" fmla="*/ 6098267 h 6116502"/>
              <a:gd name="connsiteX29" fmla="*/ 193111 w 6937913"/>
              <a:gd name="connsiteY29" fmla="*/ 5745272 h 6116502"/>
              <a:gd name="connsiteX30" fmla="*/ 29763 w 6937913"/>
              <a:gd name="connsiteY30" fmla="*/ 4204724 h 6116502"/>
              <a:gd name="connsiteX0" fmla="*/ 29763 w 6937913"/>
              <a:gd name="connsiteY0" fmla="*/ 4204724 h 6116502"/>
              <a:gd name="connsiteX1" fmla="*/ 294000 w 6937913"/>
              <a:gd name="connsiteY1" fmla="*/ 2975498 h 6116502"/>
              <a:gd name="connsiteX2" fmla="*/ 777961 w 6937913"/>
              <a:gd name="connsiteY2" fmla="*/ 2328643 h 6116502"/>
              <a:gd name="connsiteX3" fmla="*/ 1062513 w 6937913"/>
              <a:gd name="connsiteY3" fmla="*/ 2122318 h 6116502"/>
              <a:gd name="connsiteX4" fmla="*/ 1939789 w 6937913"/>
              <a:gd name="connsiteY4" fmla="*/ 1901534 h 6116502"/>
              <a:gd name="connsiteX5" fmla="*/ 2530502 w 6937913"/>
              <a:gd name="connsiteY5" fmla="*/ 1669679 h 6116502"/>
              <a:gd name="connsiteX6" fmla="*/ 2699182 w 6937913"/>
              <a:gd name="connsiteY6" fmla="*/ 1366181 h 6116502"/>
              <a:gd name="connsiteX7" fmla="*/ 2662122 w 6937913"/>
              <a:gd name="connsiteY7" fmla="*/ 998725 h 6116502"/>
              <a:gd name="connsiteX8" fmla="*/ 2715651 w 6937913"/>
              <a:gd name="connsiteY8" fmla="*/ 41078 h 6116502"/>
              <a:gd name="connsiteX9" fmla="*/ 4700573 w 6937913"/>
              <a:gd name="connsiteY9" fmla="*/ 166520 h 6116502"/>
              <a:gd name="connsiteX10" fmla="*/ 5437824 w 6937913"/>
              <a:gd name="connsiteY10" fmla="*/ 719458 h 6116502"/>
              <a:gd name="connsiteX11" fmla="*/ 5600704 w 6937913"/>
              <a:gd name="connsiteY11" fmla="*/ 1180434 h 6116502"/>
              <a:gd name="connsiteX12" fmla="*/ 5801239 w 6937913"/>
              <a:gd name="connsiteY12" fmla="*/ 1497740 h 6116502"/>
              <a:gd name="connsiteX13" fmla="*/ 6500543 w 6937913"/>
              <a:gd name="connsiteY13" fmla="*/ 1545750 h 6116502"/>
              <a:gd name="connsiteX14" fmla="*/ 6839384 w 6937913"/>
              <a:gd name="connsiteY14" fmla="*/ 1789515 h 6116502"/>
              <a:gd name="connsiteX15" fmla="*/ 6937913 w 6937913"/>
              <a:gd name="connsiteY15" fmla="*/ 2575218 h 6116502"/>
              <a:gd name="connsiteX16" fmla="*/ 6807471 w 6937913"/>
              <a:gd name="connsiteY16" fmla="*/ 3444422 h 6116502"/>
              <a:gd name="connsiteX17" fmla="*/ 6452582 w 6937913"/>
              <a:gd name="connsiteY17" fmla="*/ 3916470 h 6116502"/>
              <a:gd name="connsiteX18" fmla="*/ 5924581 w 6937913"/>
              <a:gd name="connsiteY18" fmla="*/ 4167333 h 6116502"/>
              <a:gd name="connsiteX19" fmla="*/ 5486018 w 6937913"/>
              <a:gd name="connsiteY19" fmla="*/ 4381617 h 6116502"/>
              <a:gd name="connsiteX20" fmla="*/ 5193420 w 6937913"/>
              <a:gd name="connsiteY20" fmla="*/ 4681674 h 6116502"/>
              <a:gd name="connsiteX21" fmla="*/ 5002177 w 6937913"/>
              <a:gd name="connsiteY21" fmla="*/ 5301747 h 6116502"/>
              <a:gd name="connsiteX22" fmla="*/ 4429700 w 6937913"/>
              <a:gd name="connsiteY22" fmla="*/ 5634550 h 6116502"/>
              <a:gd name="connsiteX23" fmla="*/ 3988258 w 6937913"/>
              <a:gd name="connsiteY23" fmla="*/ 5602377 h 6116502"/>
              <a:gd name="connsiteX24" fmla="*/ 3528916 w 6937913"/>
              <a:gd name="connsiteY24" fmla="*/ 5339651 h 6116502"/>
              <a:gd name="connsiteX25" fmla="*/ 2920028 w 6937913"/>
              <a:gd name="connsiteY25" fmla="*/ 5632598 h 6116502"/>
              <a:gd name="connsiteX26" fmla="*/ 2466085 w 6937913"/>
              <a:gd name="connsiteY26" fmla="*/ 5851429 h 6116502"/>
              <a:gd name="connsiteX27" fmla="*/ 1755477 w 6937913"/>
              <a:gd name="connsiteY27" fmla="*/ 6060622 h 6116502"/>
              <a:gd name="connsiteX28" fmla="*/ 994840 w 6937913"/>
              <a:gd name="connsiteY28" fmla="*/ 6098267 h 6116502"/>
              <a:gd name="connsiteX29" fmla="*/ 193111 w 6937913"/>
              <a:gd name="connsiteY29" fmla="*/ 5745272 h 6116502"/>
              <a:gd name="connsiteX30" fmla="*/ 29763 w 6937913"/>
              <a:gd name="connsiteY30" fmla="*/ 4204724 h 6116502"/>
              <a:gd name="connsiteX0" fmla="*/ 29763 w 6937913"/>
              <a:gd name="connsiteY0" fmla="*/ 4204724 h 6116502"/>
              <a:gd name="connsiteX1" fmla="*/ 294000 w 6937913"/>
              <a:gd name="connsiteY1" fmla="*/ 2975498 h 6116502"/>
              <a:gd name="connsiteX2" fmla="*/ 777961 w 6937913"/>
              <a:gd name="connsiteY2" fmla="*/ 2328643 h 6116502"/>
              <a:gd name="connsiteX3" fmla="*/ 1062513 w 6937913"/>
              <a:gd name="connsiteY3" fmla="*/ 2122318 h 6116502"/>
              <a:gd name="connsiteX4" fmla="*/ 1939789 w 6937913"/>
              <a:gd name="connsiteY4" fmla="*/ 1901534 h 6116502"/>
              <a:gd name="connsiteX5" fmla="*/ 2530502 w 6937913"/>
              <a:gd name="connsiteY5" fmla="*/ 1669679 h 6116502"/>
              <a:gd name="connsiteX6" fmla="*/ 2699182 w 6937913"/>
              <a:gd name="connsiteY6" fmla="*/ 1366181 h 6116502"/>
              <a:gd name="connsiteX7" fmla="*/ 2662122 w 6937913"/>
              <a:gd name="connsiteY7" fmla="*/ 998725 h 6116502"/>
              <a:gd name="connsiteX8" fmla="*/ 2715651 w 6937913"/>
              <a:gd name="connsiteY8" fmla="*/ 41078 h 6116502"/>
              <a:gd name="connsiteX9" fmla="*/ 4700573 w 6937913"/>
              <a:gd name="connsiteY9" fmla="*/ 166520 h 6116502"/>
              <a:gd name="connsiteX10" fmla="*/ 5437824 w 6937913"/>
              <a:gd name="connsiteY10" fmla="*/ 719458 h 6116502"/>
              <a:gd name="connsiteX11" fmla="*/ 5600704 w 6937913"/>
              <a:gd name="connsiteY11" fmla="*/ 1180434 h 6116502"/>
              <a:gd name="connsiteX12" fmla="*/ 5801239 w 6937913"/>
              <a:gd name="connsiteY12" fmla="*/ 1497740 h 6116502"/>
              <a:gd name="connsiteX13" fmla="*/ 6500543 w 6937913"/>
              <a:gd name="connsiteY13" fmla="*/ 1545750 h 6116502"/>
              <a:gd name="connsiteX14" fmla="*/ 6839384 w 6937913"/>
              <a:gd name="connsiteY14" fmla="*/ 1789515 h 6116502"/>
              <a:gd name="connsiteX15" fmla="*/ 6937913 w 6937913"/>
              <a:gd name="connsiteY15" fmla="*/ 2575218 h 6116502"/>
              <a:gd name="connsiteX16" fmla="*/ 6807471 w 6937913"/>
              <a:gd name="connsiteY16" fmla="*/ 3444422 h 6116502"/>
              <a:gd name="connsiteX17" fmla="*/ 6452582 w 6937913"/>
              <a:gd name="connsiteY17" fmla="*/ 3916470 h 6116502"/>
              <a:gd name="connsiteX18" fmla="*/ 5958291 w 6937913"/>
              <a:gd name="connsiteY18" fmla="*/ 4158906 h 6116502"/>
              <a:gd name="connsiteX19" fmla="*/ 5486018 w 6937913"/>
              <a:gd name="connsiteY19" fmla="*/ 4381617 h 6116502"/>
              <a:gd name="connsiteX20" fmla="*/ 5193420 w 6937913"/>
              <a:gd name="connsiteY20" fmla="*/ 4681674 h 6116502"/>
              <a:gd name="connsiteX21" fmla="*/ 5002177 w 6937913"/>
              <a:gd name="connsiteY21" fmla="*/ 5301747 h 6116502"/>
              <a:gd name="connsiteX22" fmla="*/ 4429700 w 6937913"/>
              <a:gd name="connsiteY22" fmla="*/ 5634550 h 6116502"/>
              <a:gd name="connsiteX23" fmla="*/ 3988258 w 6937913"/>
              <a:gd name="connsiteY23" fmla="*/ 5602377 h 6116502"/>
              <a:gd name="connsiteX24" fmla="*/ 3528916 w 6937913"/>
              <a:gd name="connsiteY24" fmla="*/ 5339651 h 6116502"/>
              <a:gd name="connsiteX25" fmla="*/ 2920028 w 6937913"/>
              <a:gd name="connsiteY25" fmla="*/ 5632598 h 6116502"/>
              <a:gd name="connsiteX26" fmla="*/ 2466085 w 6937913"/>
              <a:gd name="connsiteY26" fmla="*/ 5851429 h 6116502"/>
              <a:gd name="connsiteX27" fmla="*/ 1755477 w 6937913"/>
              <a:gd name="connsiteY27" fmla="*/ 6060622 h 6116502"/>
              <a:gd name="connsiteX28" fmla="*/ 994840 w 6937913"/>
              <a:gd name="connsiteY28" fmla="*/ 6098267 h 6116502"/>
              <a:gd name="connsiteX29" fmla="*/ 193111 w 6937913"/>
              <a:gd name="connsiteY29" fmla="*/ 5745272 h 6116502"/>
              <a:gd name="connsiteX30" fmla="*/ 29763 w 6937913"/>
              <a:gd name="connsiteY30" fmla="*/ 4204724 h 6116502"/>
              <a:gd name="connsiteX0" fmla="*/ 29763 w 6937913"/>
              <a:gd name="connsiteY0" fmla="*/ 4204724 h 6116502"/>
              <a:gd name="connsiteX1" fmla="*/ 294000 w 6937913"/>
              <a:gd name="connsiteY1" fmla="*/ 2975498 h 6116502"/>
              <a:gd name="connsiteX2" fmla="*/ 777961 w 6937913"/>
              <a:gd name="connsiteY2" fmla="*/ 2328643 h 6116502"/>
              <a:gd name="connsiteX3" fmla="*/ 1062513 w 6937913"/>
              <a:gd name="connsiteY3" fmla="*/ 2122318 h 6116502"/>
              <a:gd name="connsiteX4" fmla="*/ 1939789 w 6937913"/>
              <a:gd name="connsiteY4" fmla="*/ 1901534 h 6116502"/>
              <a:gd name="connsiteX5" fmla="*/ 2530502 w 6937913"/>
              <a:gd name="connsiteY5" fmla="*/ 1669679 h 6116502"/>
              <a:gd name="connsiteX6" fmla="*/ 2699182 w 6937913"/>
              <a:gd name="connsiteY6" fmla="*/ 1366181 h 6116502"/>
              <a:gd name="connsiteX7" fmla="*/ 2662122 w 6937913"/>
              <a:gd name="connsiteY7" fmla="*/ 998725 h 6116502"/>
              <a:gd name="connsiteX8" fmla="*/ 2715651 w 6937913"/>
              <a:gd name="connsiteY8" fmla="*/ 41078 h 6116502"/>
              <a:gd name="connsiteX9" fmla="*/ 4700573 w 6937913"/>
              <a:gd name="connsiteY9" fmla="*/ 166520 h 6116502"/>
              <a:gd name="connsiteX10" fmla="*/ 5437824 w 6937913"/>
              <a:gd name="connsiteY10" fmla="*/ 719458 h 6116502"/>
              <a:gd name="connsiteX11" fmla="*/ 5600704 w 6937913"/>
              <a:gd name="connsiteY11" fmla="*/ 1180434 h 6116502"/>
              <a:gd name="connsiteX12" fmla="*/ 5801239 w 6937913"/>
              <a:gd name="connsiteY12" fmla="*/ 1497740 h 6116502"/>
              <a:gd name="connsiteX13" fmla="*/ 6500543 w 6937913"/>
              <a:gd name="connsiteY13" fmla="*/ 1545750 h 6116502"/>
              <a:gd name="connsiteX14" fmla="*/ 6839384 w 6937913"/>
              <a:gd name="connsiteY14" fmla="*/ 1789515 h 6116502"/>
              <a:gd name="connsiteX15" fmla="*/ 6937913 w 6937913"/>
              <a:gd name="connsiteY15" fmla="*/ 2575218 h 6116502"/>
              <a:gd name="connsiteX16" fmla="*/ 6807471 w 6937913"/>
              <a:gd name="connsiteY16" fmla="*/ 3444422 h 6116502"/>
              <a:gd name="connsiteX17" fmla="*/ 6452582 w 6937913"/>
              <a:gd name="connsiteY17" fmla="*/ 3916470 h 6116502"/>
              <a:gd name="connsiteX18" fmla="*/ 5958291 w 6937913"/>
              <a:gd name="connsiteY18" fmla="*/ 4158906 h 6116502"/>
              <a:gd name="connsiteX19" fmla="*/ 5486018 w 6937913"/>
              <a:gd name="connsiteY19" fmla="*/ 4381617 h 6116502"/>
              <a:gd name="connsiteX20" fmla="*/ 5193420 w 6937913"/>
              <a:gd name="connsiteY20" fmla="*/ 4681674 h 6116502"/>
              <a:gd name="connsiteX21" fmla="*/ 5002177 w 6937913"/>
              <a:gd name="connsiteY21" fmla="*/ 5301747 h 6116502"/>
              <a:gd name="connsiteX22" fmla="*/ 4429700 w 6937913"/>
              <a:gd name="connsiteY22" fmla="*/ 5634550 h 6116502"/>
              <a:gd name="connsiteX23" fmla="*/ 3988258 w 6937913"/>
              <a:gd name="connsiteY23" fmla="*/ 5602377 h 6116502"/>
              <a:gd name="connsiteX24" fmla="*/ 3528916 w 6937913"/>
              <a:gd name="connsiteY24" fmla="*/ 5339651 h 6116502"/>
              <a:gd name="connsiteX25" fmla="*/ 2920028 w 6937913"/>
              <a:gd name="connsiteY25" fmla="*/ 5632598 h 6116502"/>
              <a:gd name="connsiteX26" fmla="*/ 2466085 w 6937913"/>
              <a:gd name="connsiteY26" fmla="*/ 5851429 h 6116502"/>
              <a:gd name="connsiteX27" fmla="*/ 1755477 w 6937913"/>
              <a:gd name="connsiteY27" fmla="*/ 6060622 h 6116502"/>
              <a:gd name="connsiteX28" fmla="*/ 994840 w 6937913"/>
              <a:gd name="connsiteY28" fmla="*/ 6098267 h 6116502"/>
              <a:gd name="connsiteX29" fmla="*/ 193111 w 6937913"/>
              <a:gd name="connsiteY29" fmla="*/ 5745272 h 6116502"/>
              <a:gd name="connsiteX30" fmla="*/ 29763 w 6937913"/>
              <a:gd name="connsiteY30" fmla="*/ 4204724 h 6116502"/>
              <a:gd name="connsiteX0" fmla="*/ 29763 w 6937913"/>
              <a:gd name="connsiteY0" fmla="*/ 4204724 h 6116502"/>
              <a:gd name="connsiteX1" fmla="*/ 294000 w 6937913"/>
              <a:gd name="connsiteY1" fmla="*/ 2975498 h 6116502"/>
              <a:gd name="connsiteX2" fmla="*/ 777961 w 6937913"/>
              <a:gd name="connsiteY2" fmla="*/ 2328643 h 6116502"/>
              <a:gd name="connsiteX3" fmla="*/ 1062513 w 6937913"/>
              <a:gd name="connsiteY3" fmla="*/ 2122318 h 6116502"/>
              <a:gd name="connsiteX4" fmla="*/ 1939789 w 6937913"/>
              <a:gd name="connsiteY4" fmla="*/ 1901534 h 6116502"/>
              <a:gd name="connsiteX5" fmla="*/ 2530502 w 6937913"/>
              <a:gd name="connsiteY5" fmla="*/ 1669679 h 6116502"/>
              <a:gd name="connsiteX6" fmla="*/ 2699182 w 6937913"/>
              <a:gd name="connsiteY6" fmla="*/ 1366181 h 6116502"/>
              <a:gd name="connsiteX7" fmla="*/ 2662122 w 6937913"/>
              <a:gd name="connsiteY7" fmla="*/ 998725 h 6116502"/>
              <a:gd name="connsiteX8" fmla="*/ 2715651 w 6937913"/>
              <a:gd name="connsiteY8" fmla="*/ 41078 h 6116502"/>
              <a:gd name="connsiteX9" fmla="*/ 4700573 w 6937913"/>
              <a:gd name="connsiteY9" fmla="*/ 166520 h 6116502"/>
              <a:gd name="connsiteX10" fmla="*/ 5437824 w 6937913"/>
              <a:gd name="connsiteY10" fmla="*/ 719458 h 6116502"/>
              <a:gd name="connsiteX11" fmla="*/ 5600704 w 6937913"/>
              <a:gd name="connsiteY11" fmla="*/ 1180434 h 6116502"/>
              <a:gd name="connsiteX12" fmla="*/ 5801239 w 6937913"/>
              <a:gd name="connsiteY12" fmla="*/ 1497740 h 6116502"/>
              <a:gd name="connsiteX13" fmla="*/ 6500543 w 6937913"/>
              <a:gd name="connsiteY13" fmla="*/ 1545750 h 6116502"/>
              <a:gd name="connsiteX14" fmla="*/ 6839384 w 6937913"/>
              <a:gd name="connsiteY14" fmla="*/ 1789515 h 6116502"/>
              <a:gd name="connsiteX15" fmla="*/ 6937913 w 6937913"/>
              <a:gd name="connsiteY15" fmla="*/ 2575218 h 6116502"/>
              <a:gd name="connsiteX16" fmla="*/ 6807471 w 6937913"/>
              <a:gd name="connsiteY16" fmla="*/ 3444422 h 6116502"/>
              <a:gd name="connsiteX17" fmla="*/ 6452582 w 6937913"/>
              <a:gd name="connsiteY17" fmla="*/ 3916470 h 6116502"/>
              <a:gd name="connsiteX18" fmla="*/ 5958291 w 6937913"/>
              <a:gd name="connsiteY18" fmla="*/ 4158906 h 6116502"/>
              <a:gd name="connsiteX19" fmla="*/ 5486018 w 6937913"/>
              <a:gd name="connsiteY19" fmla="*/ 4381617 h 6116502"/>
              <a:gd name="connsiteX20" fmla="*/ 5193420 w 6937913"/>
              <a:gd name="connsiteY20" fmla="*/ 4681674 h 6116502"/>
              <a:gd name="connsiteX21" fmla="*/ 5002177 w 6937913"/>
              <a:gd name="connsiteY21" fmla="*/ 5301747 h 6116502"/>
              <a:gd name="connsiteX22" fmla="*/ 4429700 w 6937913"/>
              <a:gd name="connsiteY22" fmla="*/ 5634550 h 6116502"/>
              <a:gd name="connsiteX23" fmla="*/ 3988258 w 6937913"/>
              <a:gd name="connsiteY23" fmla="*/ 5602377 h 6116502"/>
              <a:gd name="connsiteX24" fmla="*/ 3528916 w 6937913"/>
              <a:gd name="connsiteY24" fmla="*/ 5339651 h 6116502"/>
              <a:gd name="connsiteX25" fmla="*/ 2920028 w 6937913"/>
              <a:gd name="connsiteY25" fmla="*/ 5632598 h 6116502"/>
              <a:gd name="connsiteX26" fmla="*/ 2466085 w 6937913"/>
              <a:gd name="connsiteY26" fmla="*/ 5851429 h 6116502"/>
              <a:gd name="connsiteX27" fmla="*/ 1755477 w 6937913"/>
              <a:gd name="connsiteY27" fmla="*/ 6060622 h 6116502"/>
              <a:gd name="connsiteX28" fmla="*/ 994840 w 6937913"/>
              <a:gd name="connsiteY28" fmla="*/ 6098267 h 6116502"/>
              <a:gd name="connsiteX29" fmla="*/ 193111 w 6937913"/>
              <a:gd name="connsiteY29" fmla="*/ 5745272 h 6116502"/>
              <a:gd name="connsiteX30" fmla="*/ 29763 w 6937913"/>
              <a:gd name="connsiteY30" fmla="*/ 4204724 h 6116502"/>
              <a:gd name="connsiteX0" fmla="*/ 29763 w 6937913"/>
              <a:gd name="connsiteY0" fmla="*/ 4204724 h 6116502"/>
              <a:gd name="connsiteX1" fmla="*/ 294000 w 6937913"/>
              <a:gd name="connsiteY1" fmla="*/ 2975498 h 6116502"/>
              <a:gd name="connsiteX2" fmla="*/ 777961 w 6937913"/>
              <a:gd name="connsiteY2" fmla="*/ 2328643 h 6116502"/>
              <a:gd name="connsiteX3" fmla="*/ 1062513 w 6937913"/>
              <a:gd name="connsiteY3" fmla="*/ 2122318 h 6116502"/>
              <a:gd name="connsiteX4" fmla="*/ 1939789 w 6937913"/>
              <a:gd name="connsiteY4" fmla="*/ 1901534 h 6116502"/>
              <a:gd name="connsiteX5" fmla="*/ 2530502 w 6937913"/>
              <a:gd name="connsiteY5" fmla="*/ 1669679 h 6116502"/>
              <a:gd name="connsiteX6" fmla="*/ 2699182 w 6937913"/>
              <a:gd name="connsiteY6" fmla="*/ 1366181 h 6116502"/>
              <a:gd name="connsiteX7" fmla="*/ 2662122 w 6937913"/>
              <a:gd name="connsiteY7" fmla="*/ 998725 h 6116502"/>
              <a:gd name="connsiteX8" fmla="*/ 2715651 w 6937913"/>
              <a:gd name="connsiteY8" fmla="*/ 41078 h 6116502"/>
              <a:gd name="connsiteX9" fmla="*/ 4700573 w 6937913"/>
              <a:gd name="connsiteY9" fmla="*/ 166520 h 6116502"/>
              <a:gd name="connsiteX10" fmla="*/ 5437824 w 6937913"/>
              <a:gd name="connsiteY10" fmla="*/ 719458 h 6116502"/>
              <a:gd name="connsiteX11" fmla="*/ 5600704 w 6937913"/>
              <a:gd name="connsiteY11" fmla="*/ 1180434 h 6116502"/>
              <a:gd name="connsiteX12" fmla="*/ 5801239 w 6937913"/>
              <a:gd name="connsiteY12" fmla="*/ 1497740 h 6116502"/>
              <a:gd name="connsiteX13" fmla="*/ 6500543 w 6937913"/>
              <a:gd name="connsiteY13" fmla="*/ 1545750 h 6116502"/>
              <a:gd name="connsiteX14" fmla="*/ 6839384 w 6937913"/>
              <a:gd name="connsiteY14" fmla="*/ 1789515 h 6116502"/>
              <a:gd name="connsiteX15" fmla="*/ 6937913 w 6937913"/>
              <a:gd name="connsiteY15" fmla="*/ 2575218 h 6116502"/>
              <a:gd name="connsiteX16" fmla="*/ 6807471 w 6937913"/>
              <a:gd name="connsiteY16" fmla="*/ 3444422 h 6116502"/>
              <a:gd name="connsiteX17" fmla="*/ 6452582 w 6937913"/>
              <a:gd name="connsiteY17" fmla="*/ 3916470 h 6116502"/>
              <a:gd name="connsiteX18" fmla="*/ 5958291 w 6937913"/>
              <a:gd name="connsiteY18" fmla="*/ 4158906 h 6116502"/>
              <a:gd name="connsiteX19" fmla="*/ 5486018 w 6937913"/>
              <a:gd name="connsiteY19" fmla="*/ 4381617 h 6116502"/>
              <a:gd name="connsiteX20" fmla="*/ 5193420 w 6937913"/>
              <a:gd name="connsiteY20" fmla="*/ 4681674 h 6116502"/>
              <a:gd name="connsiteX21" fmla="*/ 5002177 w 6937913"/>
              <a:gd name="connsiteY21" fmla="*/ 5301747 h 6116502"/>
              <a:gd name="connsiteX22" fmla="*/ 4429700 w 6937913"/>
              <a:gd name="connsiteY22" fmla="*/ 5634550 h 6116502"/>
              <a:gd name="connsiteX23" fmla="*/ 3988258 w 6937913"/>
              <a:gd name="connsiteY23" fmla="*/ 5602377 h 6116502"/>
              <a:gd name="connsiteX24" fmla="*/ 3528916 w 6937913"/>
              <a:gd name="connsiteY24" fmla="*/ 5339651 h 6116502"/>
              <a:gd name="connsiteX25" fmla="*/ 2920028 w 6937913"/>
              <a:gd name="connsiteY25" fmla="*/ 5632598 h 6116502"/>
              <a:gd name="connsiteX26" fmla="*/ 2466085 w 6937913"/>
              <a:gd name="connsiteY26" fmla="*/ 5851429 h 6116502"/>
              <a:gd name="connsiteX27" fmla="*/ 1755477 w 6937913"/>
              <a:gd name="connsiteY27" fmla="*/ 6060622 h 6116502"/>
              <a:gd name="connsiteX28" fmla="*/ 994840 w 6937913"/>
              <a:gd name="connsiteY28" fmla="*/ 6098267 h 6116502"/>
              <a:gd name="connsiteX29" fmla="*/ 193111 w 6937913"/>
              <a:gd name="connsiteY29" fmla="*/ 5745272 h 6116502"/>
              <a:gd name="connsiteX30" fmla="*/ 29763 w 6937913"/>
              <a:gd name="connsiteY30" fmla="*/ 4204724 h 6116502"/>
              <a:gd name="connsiteX0" fmla="*/ 29763 w 6937913"/>
              <a:gd name="connsiteY0" fmla="*/ 4204724 h 6116502"/>
              <a:gd name="connsiteX1" fmla="*/ 294000 w 6937913"/>
              <a:gd name="connsiteY1" fmla="*/ 2975498 h 6116502"/>
              <a:gd name="connsiteX2" fmla="*/ 777961 w 6937913"/>
              <a:gd name="connsiteY2" fmla="*/ 2328643 h 6116502"/>
              <a:gd name="connsiteX3" fmla="*/ 1062513 w 6937913"/>
              <a:gd name="connsiteY3" fmla="*/ 2122318 h 6116502"/>
              <a:gd name="connsiteX4" fmla="*/ 1939789 w 6937913"/>
              <a:gd name="connsiteY4" fmla="*/ 1901534 h 6116502"/>
              <a:gd name="connsiteX5" fmla="*/ 2530502 w 6937913"/>
              <a:gd name="connsiteY5" fmla="*/ 1669679 h 6116502"/>
              <a:gd name="connsiteX6" fmla="*/ 2699182 w 6937913"/>
              <a:gd name="connsiteY6" fmla="*/ 1366181 h 6116502"/>
              <a:gd name="connsiteX7" fmla="*/ 2662122 w 6937913"/>
              <a:gd name="connsiteY7" fmla="*/ 998725 h 6116502"/>
              <a:gd name="connsiteX8" fmla="*/ 2715651 w 6937913"/>
              <a:gd name="connsiteY8" fmla="*/ 41078 h 6116502"/>
              <a:gd name="connsiteX9" fmla="*/ 4700573 w 6937913"/>
              <a:gd name="connsiteY9" fmla="*/ 166520 h 6116502"/>
              <a:gd name="connsiteX10" fmla="*/ 5437824 w 6937913"/>
              <a:gd name="connsiteY10" fmla="*/ 719458 h 6116502"/>
              <a:gd name="connsiteX11" fmla="*/ 5600704 w 6937913"/>
              <a:gd name="connsiteY11" fmla="*/ 1180434 h 6116502"/>
              <a:gd name="connsiteX12" fmla="*/ 5801239 w 6937913"/>
              <a:gd name="connsiteY12" fmla="*/ 1497740 h 6116502"/>
              <a:gd name="connsiteX13" fmla="*/ 6500543 w 6937913"/>
              <a:gd name="connsiteY13" fmla="*/ 1545750 h 6116502"/>
              <a:gd name="connsiteX14" fmla="*/ 6839384 w 6937913"/>
              <a:gd name="connsiteY14" fmla="*/ 1789515 h 6116502"/>
              <a:gd name="connsiteX15" fmla="*/ 6937913 w 6937913"/>
              <a:gd name="connsiteY15" fmla="*/ 2575218 h 6116502"/>
              <a:gd name="connsiteX16" fmla="*/ 6807471 w 6937913"/>
              <a:gd name="connsiteY16" fmla="*/ 3444422 h 6116502"/>
              <a:gd name="connsiteX17" fmla="*/ 6452582 w 6937913"/>
              <a:gd name="connsiteY17" fmla="*/ 3916470 h 6116502"/>
              <a:gd name="connsiteX18" fmla="*/ 5958291 w 6937913"/>
              <a:gd name="connsiteY18" fmla="*/ 4158906 h 6116502"/>
              <a:gd name="connsiteX19" fmla="*/ 5486018 w 6937913"/>
              <a:gd name="connsiteY19" fmla="*/ 4381617 h 6116502"/>
              <a:gd name="connsiteX20" fmla="*/ 5193420 w 6937913"/>
              <a:gd name="connsiteY20" fmla="*/ 4681674 h 6116502"/>
              <a:gd name="connsiteX21" fmla="*/ 5002177 w 6937913"/>
              <a:gd name="connsiteY21" fmla="*/ 5301747 h 6116502"/>
              <a:gd name="connsiteX22" fmla="*/ 4429700 w 6937913"/>
              <a:gd name="connsiteY22" fmla="*/ 5634550 h 6116502"/>
              <a:gd name="connsiteX23" fmla="*/ 3988258 w 6937913"/>
              <a:gd name="connsiteY23" fmla="*/ 5602377 h 6116502"/>
              <a:gd name="connsiteX24" fmla="*/ 3528916 w 6937913"/>
              <a:gd name="connsiteY24" fmla="*/ 5339651 h 6116502"/>
              <a:gd name="connsiteX25" fmla="*/ 2920028 w 6937913"/>
              <a:gd name="connsiteY25" fmla="*/ 5632598 h 6116502"/>
              <a:gd name="connsiteX26" fmla="*/ 2466085 w 6937913"/>
              <a:gd name="connsiteY26" fmla="*/ 5851429 h 6116502"/>
              <a:gd name="connsiteX27" fmla="*/ 1755477 w 6937913"/>
              <a:gd name="connsiteY27" fmla="*/ 6060622 h 6116502"/>
              <a:gd name="connsiteX28" fmla="*/ 994840 w 6937913"/>
              <a:gd name="connsiteY28" fmla="*/ 6098267 h 6116502"/>
              <a:gd name="connsiteX29" fmla="*/ 193111 w 6937913"/>
              <a:gd name="connsiteY29" fmla="*/ 5745272 h 6116502"/>
              <a:gd name="connsiteX30" fmla="*/ 29763 w 6937913"/>
              <a:gd name="connsiteY30" fmla="*/ 4204724 h 6116502"/>
              <a:gd name="connsiteX0" fmla="*/ 29763 w 6937913"/>
              <a:gd name="connsiteY0" fmla="*/ 4204724 h 6116502"/>
              <a:gd name="connsiteX1" fmla="*/ 294000 w 6937913"/>
              <a:gd name="connsiteY1" fmla="*/ 2975498 h 6116502"/>
              <a:gd name="connsiteX2" fmla="*/ 777961 w 6937913"/>
              <a:gd name="connsiteY2" fmla="*/ 2328643 h 6116502"/>
              <a:gd name="connsiteX3" fmla="*/ 1062513 w 6937913"/>
              <a:gd name="connsiteY3" fmla="*/ 2122318 h 6116502"/>
              <a:gd name="connsiteX4" fmla="*/ 1939789 w 6937913"/>
              <a:gd name="connsiteY4" fmla="*/ 1901534 h 6116502"/>
              <a:gd name="connsiteX5" fmla="*/ 2530502 w 6937913"/>
              <a:gd name="connsiteY5" fmla="*/ 1669679 h 6116502"/>
              <a:gd name="connsiteX6" fmla="*/ 2699182 w 6937913"/>
              <a:gd name="connsiteY6" fmla="*/ 1366181 h 6116502"/>
              <a:gd name="connsiteX7" fmla="*/ 2662122 w 6937913"/>
              <a:gd name="connsiteY7" fmla="*/ 998725 h 6116502"/>
              <a:gd name="connsiteX8" fmla="*/ 2715651 w 6937913"/>
              <a:gd name="connsiteY8" fmla="*/ 41078 h 6116502"/>
              <a:gd name="connsiteX9" fmla="*/ 4700573 w 6937913"/>
              <a:gd name="connsiteY9" fmla="*/ 166520 h 6116502"/>
              <a:gd name="connsiteX10" fmla="*/ 5437824 w 6937913"/>
              <a:gd name="connsiteY10" fmla="*/ 719458 h 6116502"/>
              <a:gd name="connsiteX11" fmla="*/ 5600704 w 6937913"/>
              <a:gd name="connsiteY11" fmla="*/ 1180434 h 6116502"/>
              <a:gd name="connsiteX12" fmla="*/ 5801239 w 6937913"/>
              <a:gd name="connsiteY12" fmla="*/ 1497740 h 6116502"/>
              <a:gd name="connsiteX13" fmla="*/ 6500543 w 6937913"/>
              <a:gd name="connsiteY13" fmla="*/ 1545750 h 6116502"/>
              <a:gd name="connsiteX14" fmla="*/ 6839384 w 6937913"/>
              <a:gd name="connsiteY14" fmla="*/ 1789515 h 6116502"/>
              <a:gd name="connsiteX15" fmla="*/ 6937913 w 6937913"/>
              <a:gd name="connsiteY15" fmla="*/ 2575218 h 6116502"/>
              <a:gd name="connsiteX16" fmla="*/ 6807471 w 6937913"/>
              <a:gd name="connsiteY16" fmla="*/ 3444422 h 6116502"/>
              <a:gd name="connsiteX17" fmla="*/ 6452582 w 6937913"/>
              <a:gd name="connsiteY17" fmla="*/ 3916470 h 6116502"/>
              <a:gd name="connsiteX18" fmla="*/ 5958291 w 6937913"/>
              <a:gd name="connsiteY18" fmla="*/ 4158906 h 6116502"/>
              <a:gd name="connsiteX19" fmla="*/ 5486018 w 6937913"/>
              <a:gd name="connsiteY19" fmla="*/ 4381617 h 6116502"/>
              <a:gd name="connsiteX20" fmla="*/ 5193420 w 6937913"/>
              <a:gd name="connsiteY20" fmla="*/ 4681674 h 6116502"/>
              <a:gd name="connsiteX21" fmla="*/ 5002177 w 6937913"/>
              <a:gd name="connsiteY21" fmla="*/ 5301747 h 6116502"/>
              <a:gd name="connsiteX22" fmla="*/ 4429700 w 6937913"/>
              <a:gd name="connsiteY22" fmla="*/ 5634550 h 6116502"/>
              <a:gd name="connsiteX23" fmla="*/ 3988258 w 6937913"/>
              <a:gd name="connsiteY23" fmla="*/ 5602377 h 6116502"/>
              <a:gd name="connsiteX24" fmla="*/ 3528916 w 6937913"/>
              <a:gd name="connsiteY24" fmla="*/ 5339651 h 6116502"/>
              <a:gd name="connsiteX25" fmla="*/ 2920028 w 6937913"/>
              <a:gd name="connsiteY25" fmla="*/ 5632598 h 6116502"/>
              <a:gd name="connsiteX26" fmla="*/ 2466085 w 6937913"/>
              <a:gd name="connsiteY26" fmla="*/ 5851429 h 6116502"/>
              <a:gd name="connsiteX27" fmla="*/ 1755477 w 6937913"/>
              <a:gd name="connsiteY27" fmla="*/ 6060622 h 6116502"/>
              <a:gd name="connsiteX28" fmla="*/ 994840 w 6937913"/>
              <a:gd name="connsiteY28" fmla="*/ 6098267 h 6116502"/>
              <a:gd name="connsiteX29" fmla="*/ 193111 w 6937913"/>
              <a:gd name="connsiteY29" fmla="*/ 5745272 h 6116502"/>
              <a:gd name="connsiteX30" fmla="*/ 29763 w 6937913"/>
              <a:gd name="connsiteY30" fmla="*/ 4204724 h 6116502"/>
              <a:gd name="connsiteX0" fmla="*/ 29763 w 6937913"/>
              <a:gd name="connsiteY0" fmla="*/ 4204724 h 6116502"/>
              <a:gd name="connsiteX1" fmla="*/ 294000 w 6937913"/>
              <a:gd name="connsiteY1" fmla="*/ 2975498 h 6116502"/>
              <a:gd name="connsiteX2" fmla="*/ 777961 w 6937913"/>
              <a:gd name="connsiteY2" fmla="*/ 2328643 h 6116502"/>
              <a:gd name="connsiteX3" fmla="*/ 1062513 w 6937913"/>
              <a:gd name="connsiteY3" fmla="*/ 2122318 h 6116502"/>
              <a:gd name="connsiteX4" fmla="*/ 1939789 w 6937913"/>
              <a:gd name="connsiteY4" fmla="*/ 1901534 h 6116502"/>
              <a:gd name="connsiteX5" fmla="*/ 2530502 w 6937913"/>
              <a:gd name="connsiteY5" fmla="*/ 1669679 h 6116502"/>
              <a:gd name="connsiteX6" fmla="*/ 2699182 w 6937913"/>
              <a:gd name="connsiteY6" fmla="*/ 1366181 h 6116502"/>
              <a:gd name="connsiteX7" fmla="*/ 2662122 w 6937913"/>
              <a:gd name="connsiteY7" fmla="*/ 998725 h 6116502"/>
              <a:gd name="connsiteX8" fmla="*/ 2715651 w 6937913"/>
              <a:gd name="connsiteY8" fmla="*/ 41078 h 6116502"/>
              <a:gd name="connsiteX9" fmla="*/ 4700573 w 6937913"/>
              <a:gd name="connsiteY9" fmla="*/ 166520 h 6116502"/>
              <a:gd name="connsiteX10" fmla="*/ 5437824 w 6937913"/>
              <a:gd name="connsiteY10" fmla="*/ 719458 h 6116502"/>
              <a:gd name="connsiteX11" fmla="*/ 5600704 w 6937913"/>
              <a:gd name="connsiteY11" fmla="*/ 1180434 h 6116502"/>
              <a:gd name="connsiteX12" fmla="*/ 5801239 w 6937913"/>
              <a:gd name="connsiteY12" fmla="*/ 1497740 h 6116502"/>
              <a:gd name="connsiteX13" fmla="*/ 6500543 w 6937913"/>
              <a:gd name="connsiteY13" fmla="*/ 1545750 h 6116502"/>
              <a:gd name="connsiteX14" fmla="*/ 6839384 w 6937913"/>
              <a:gd name="connsiteY14" fmla="*/ 1789515 h 6116502"/>
              <a:gd name="connsiteX15" fmla="*/ 6937913 w 6937913"/>
              <a:gd name="connsiteY15" fmla="*/ 2575218 h 6116502"/>
              <a:gd name="connsiteX16" fmla="*/ 6807471 w 6937913"/>
              <a:gd name="connsiteY16" fmla="*/ 3444422 h 6116502"/>
              <a:gd name="connsiteX17" fmla="*/ 6452582 w 6937913"/>
              <a:gd name="connsiteY17" fmla="*/ 3916470 h 6116502"/>
              <a:gd name="connsiteX18" fmla="*/ 5958291 w 6937913"/>
              <a:gd name="connsiteY18" fmla="*/ 4158906 h 6116502"/>
              <a:gd name="connsiteX19" fmla="*/ 5486018 w 6937913"/>
              <a:gd name="connsiteY19" fmla="*/ 4381617 h 6116502"/>
              <a:gd name="connsiteX20" fmla="*/ 5193420 w 6937913"/>
              <a:gd name="connsiteY20" fmla="*/ 4681674 h 6116502"/>
              <a:gd name="connsiteX21" fmla="*/ 5002177 w 6937913"/>
              <a:gd name="connsiteY21" fmla="*/ 5301747 h 6116502"/>
              <a:gd name="connsiteX22" fmla="*/ 4429700 w 6937913"/>
              <a:gd name="connsiteY22" fmla="*/ 5634550 h 6116502"/>
              <a:gd name="connsiteX23" fmla="*/ 3988258 w 6937913"/>
              <a:gd name="connsiteY23" fmla="*/ 5602377 h 6116502"/>
              <a:gd name="connsiteX24" fmla="*/ 3528916 w 6937913"/>
              <a:gd name="connsiteY24" fmla="*/ 5339651 h 6116502"/>
              <a:gd name="connsiteX25" fmla="*/ 2884555 w 6937913"/>
              <a:gd name="connsiteY25" fmla="*/ 5636539 h 6116502"/>
              <a:gd name="connsiteX26" fmla="*/ 2466085 w 6937913"/>
              <a:gd name="connsiteY26" fmla="*/ 5851429 h 6116502"/>
              <a:gd name="connsiteX27" fmla="*/ 1755477 w 6937913"/>
              <a:gd name="connsiteY27" fmla="*/ 6060622 h 6116502"/>
              <a:gd name="connsiteX28" fmla="*/ 994840 w 6937913"/>
              <a:gd name="connsiteY28" fmla="*/ 6098267 h 6116502"/>
              <a:gd name="connsiteX29" fmla="*/ 193111 w 6937913"/>
              <a:gd name="connsiteY29" fmla="*/ 5745272 h 6116502"/>
              <a:gd name="connsiteX30" fmla="*/ 29763 w 6937913"/>
              <a:gd name="connsiteY30" fmla="*/ 4204724 h 6116502"/>
              <a:gd name="connsiteX0" fmla="*/ 29763 w 6937913"/>
              <a:gd name="connsiteY0" fmla="*/ 4204724 h 6116502"/>
              <a:gd name="connsiteX1" fmla="*/ 294000 w 6937913"/>
              <a:gd name="connsiteY1" fmla="*/ 2975498 h 6116502"/>
              <a:gd name="connsiteX2" fmla="*/ 777961 w 6937913"/>
              <a:gd name="connsiteY2" fmla="*/ 2328643 h 6116502"/>
              <a:gd name="connsiteX3" fmla="*/ 1062513 w 6937913"/>
              <a:gd name="connsiteY3" fmla="*/ 2122318 h 6116502"/>
              <a:gd name="connsiteX4" fmla="*/ 1939789 w 6937913"/>
              <a:gd name="connsiteY4" fmla="*/ 1901534 h 6116502"/>
              <a:gd name="connsiteX5" fmla="*/ 2530502 w 6937913"/>
              <a:gd name="connsiteY5" fmla="*/ 1669679 h 6116502"/>
              <a:gd name="connsiteX6" fmla="*/ 2699182 w 6937913"/>
              <a:gd name="connsiteY6" fmla="*/ 1366181 h 6116502"/>
              <a:gd name="connsiteX7" fmla="*/ 2662122 w 6937913"/>
              <a:gd name="connsiteY7" fmla="*/ 998725 h 6116502"/>
              <a:gd name="connsiteX8" fmla="*/ 2715651 w 6937913"/>
              <a:gd name="connsiteY8" fmla="*/ 41078 h 6116502"/>
              <a:gd name="connsiteX9" fmla="*/ 4700573 w 6937913"/>
              <a:gd name="connsiteY9" fmla="*/ 166520 h 6116502"/>
              <a:gd name="connsiteX10" fmla="*/ 5437824 w 6937913"/>
              <a:gd name="connsiteY10" fmla="*/ 719458 h 6116502"/>
              <a:gd name="connsiteX11" fmla="*/ 5600704 w 6937913"/>
              <a:gd name="connsiteY11" fmla="*/ 1180434 h 6116502"/>
              <a:gd name="connsiteX12" fmla="*/ 5801239 w 6937913"/>
              <a:gd name="connsiteY12" fmla="*/ 1497740 h 6116502"/>
              <a:gd name="connsiteX13" fmla="*/ 6500543 w 6937913"/>
              <a:gd name="connsiteY13" fmla="*/ 1545750 h 6116502"/>
              <a:gd name="connsiteX14" fmla="*/ 6839384 w 6937913"/>
              <a:gd name="connsiteY14" fmla="*/ 1789515 h 6116502"/>
              <a:gd name="connsiteX15" fmla="*/ 6937913 w 6937913"/>
              <a:gd name="connsiteY15" fmla="*/ 2575218 h 6116502"/>
              <a:gd name="connsiteX16" fmla="*/ 6807471 w 6937913"/>
              <a:gd name="connsiteY16" fmla="*/ 3444422 h 6116502"/>
              <a:gd name="connsiteX17" fmla="*/ 6452582 w 6937913"/>
              <a:gd name="connsiteY17" fmla="*/ 3916470 h 6116502"/>
              <a:gd name="connsiteX18" fmla="*/ 5958291 w 6937913"/>
              <a:gd name="connsiteY18" fmla="*/ 4158906 h 6116502"/>
              <a:gd name="connsiteX19" fmla="*/ 5486018 w 6937913"/>
              <a:gd name="connsiteY19" fmla="*/ 4381617 h 6116502"/>
              <a:gd name="connsiteX20" fmla="*/ 5193420 w 6937913"/>
              <a:gd name="connsiteY20" fmla="*/ 4681674 h 6116502"/>
              <a:gd name="connsiteX21" fmla="*/ 5002177 w 6937913"/>
              <a:gd name="connsiteY21" fmla="*/ 5301747 h 6116502"/>
              <a:gd name="connsiteX22" fmla="*/ 4429700 w 6937913"/>
              <a:gd name="connsiteY22" fmla="*/ 5634550 h 6116502"/>
              <a:gd name="connsiteX23" fmla="*/ 3988258 w 6937913"/>
              <a:gd name="connsiteY23" fmla="*/ 5602377 h 6116502"/>
              <a:gd name="connsiteX24" fmla="*/ 3528916 w 6937913"/>
              <a:gd name="connsiteY24" fmla="*/ 5339651 h 6116502"/>
              <a:gd name="connsiteX25" fmla="*/ 2884555 w 6937913"/>
              <a:gd name="connsiteY25" fmla="*/ 5636539 h 6116502"/>
              <a:gd name="connsiteX26" fmla="*/ 2466085 w 6937913"/>
              <a:gd name="connsiteY26" fmla="*/ 5851429 h 6116502"/>
              <a:gd name="connsiteX27" fmla="*/ 1755477 w 6937913"/>
              <a:gd name="connsiteY27" fmla="*/ 6060622 h 6116502"/>
              <a:gd name="connsiteX28" fmla="*/ 994840 w 6937913"/>
              <a:gd name="connsiteY28" fmla="*/ 6098267 h 6116502"/>
              <a:gd name="connsiteX29" fmla="*/ 193111 w 6937913"/>
              <a:gd name="connsiteY29" fmla="*/ 5745272 h 6116502"/>
              <a:gd name="connsiteX30" fmla="*/ 29763 w 6937913"/>
              <a:gd name="connsiteY30" fmla="*/ 4204724 h 6116502"/>
              <a:gd name="connsiteX0" fmla="*/ 29763 w 6937913"/>
              <a:gd name="connsiteY0" fmla="*/ 4204724 h 6116502"/>
              <a:gd name="connsiteX1" fmla="*/ 294000 w 6937913"/>
              <a:gd name="connsiteY1" fmla="*/ 2975498 h 6116502"/>
              <a:gd name="connsiteX2" fmla="*/ 777961 w 6937913"/>
              <a:gd name="connsiteY2" fmla="*/ 2328643 h 6116502"/>
              <a:gd name="connsiteX3" fmla="*/ 1062513 w 6937913"/>
              <a:gd name="connsiteY3" fmla="*/ 2122318 h 6116502"/>
              <a:gd name="connsiteX4" fmla="*/ 1939789 w 6937913"/>
              <a:gd name="connsiteY4" fmla="*/ 1901534 h 6116502"/>
              <a:gd name="connsiteX5" fmla="*/ 2530502 w 6937913"/>
              <a:gd name="connsiteY5" fmla="*/ 1669679 h 6116502"/>
              <a:gd name="connsiteX6" fmla="*/ 2699182 w 6937913"/>
              <a:gd name="connsiteY6" fmla="*/ 1366181 h 6116502"/>
              <a:gd name="connsiteX7" fmla="*/ 2662122 w 6937913"/>
              <a:gd name="connsiteY7" fmla="*/ 998725 h 6116502"/>
              <a:gd name="connsiteX8" fmla="*/ 2715651 w 6937913"/>
              <a:gd name="connsiteY8" fmla="*/ 41078 h 6116502"/>
              <a:gd name="connsiteX9" fmla="*/ 4700573 w 6937913"/>
              <a:gd name="connsiteY9" fmla="*/ 166520 h 6116502"/>
              <a:gd name="connsiteX10" fmla="*/ 5437824 w 6937913"/>
              <a:gd name="connsiteY10" fmla="*/ 719458 h 6116502"/>
              <a:gd name="connsiteX11" fmla="*/ 5600704 w 6937913"/>
              <a:gd name="connsiteY11" fmla="*/ 1180434 h 6116502"/>
              <a:gd name="connsiteX12" fmla="*/ 5801239 w 6937913"/>
              <a:gd name="connsiteY12" fmla="*/ 1497740 h 6116502"/>
              <a:gd name="connsiteX13" fmla="*/ 6500543 w 6937913"/>
              <a:gd name="connsiteY13" fmla="*/ 1545750 h 6116502"/>
              <a:gd name="connsiteX14" fmla="*/ 6839384 w 6937913"/>
              <a:gd name="connsiteY14" fmla="*/ 1789515 h 6116502"/>
              <a:gd name="connsiteX15" fmla="*/ 6937913 w 6937913"/>
              <a:gd name="connsiteY15" fmla="*/ 2575218 h 6116502"/>
              <a:gd name="connsiteX16" fmla="*/ 6807471 w 6937913"/>
              <a:gd name="connsiteY16" fmla="*/ 3444422 h 6116502"/>
              <a:gd name="connsiteX17" fmla="*/ 6452582 w 6937913"/>
              <a:gd name="connsiteY17" fmla="*/ 3916470 h 6116502"/>
              <a:gd name="connsiteX18" fmla="*/ 5958291 w 6937913"/>
              <a:gd name="connsiteY18" fmla="*/ 4158906 h 6116502"/>
              <a:gd name="connsiteX19" fmla="*/ 5486018 w 6937913"/>
              <a:gd name="connsiteY19" fmla="*/ 4381617 h 6116502"/>
              <a:gd name="connsiteX20" fmla="*/ 5193420 w 6937913"/>
              <a:gd name="connsiteY20" fmla="*/ 4681674 h 6116502"/>
              <a:gd name="connsiteX21" fmla="*/ 5002177 w 6937913"/>
              <a:gd name="connsiteY21" fmla="*/ 5301747 h 6116502"/>
              <a:gd name="connsiteX22" fmla="*/ 4429700 w 6937913"/>
              <a:gd name="connsiteY22" fmla="*/ 5634550 h 6116502"/>
              <a:gd name="connsiteX23" fmla="*/ 3988258 w 6937913"/>
              <a:gd name="connsiteY23" fmla="*/ 5602377 h 6116502"/>
              <a:gd name="connsiteX24" fmla="*/ 3528916 w 6937913"/>
              <a:gd name="connsiteY24" fmla="*/ 5339651 h 6116502"/>
              <a:gd name="connsiteX25" fmla="*/ 2884555 w 6937913"/>
              <a:gd name="connsiteY25" fmla="*/ 5636539 h 6116502"/>
              <a:gd name="connsiteX26" fmla="*/ 2466085 w 6937913"/>
              <a:gd name="connsiteY26" fmla="*/ 5851429 h 6116502"/>
              <a:gd name="connsiteX27" fmla="*/ 1755477 w 6937913"/>
              <a:gd name="connsiteY27" fmla="*/ 6060622 h 6116502"/>
              <a:gd name="connsiteX28" fmla="*/ 994840 w 6937913"/>
              <a:gd name="connsiteY28" fmla="*/ 6098267 h 6116502"/>
              <a:gd name="connsiteX29" fmla="*/ 193111 w 6937913"/>
              <a:gd name="connsiteY29" fmla="*/ 5745272 h 6116502"/>
              <a:gd name="connsiteX30" fmla="*/ 29763 w 6937913"/>
              <a:gd name="connsiteY30" fmla="*/ 4204724 h 6116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6937913" h="6116502">
                <a:moveTo>
                  <a:pt x="29763" y="4204724"/>
                </a:moveTo>
                <a:cubicBezTo>
                  <a:pt x="46578" y="3743095"/>
                  <a:pt x="-150144" y="3425360"/>
                  <a:pt x="294000" y="2975498"/>
                </a:cubicBezTo>
                <a:cubicBezTo>
                  <a:pt x="427492" y="2670633"/>
                  <a:pt x="691883" y="2403432"/>
                  <a:pt x="777961" y="2328643"/>
                </a:cubicBezTo>
                <a:cubicBezTo>
                  <a:pt x="864039" y="2253854"/>
                  <a:pt x="814168" y="2299988"/>
                  <a:pt x="1062513" y="2122318"/>
                </a:cubicBezTo>
                <a:cubicBezTo>
                  <a:pt x="1384681" y="1934533"/>
                  <a:pt x="1688937" y="1950055"/>
                  <a:pt x="1939789" y="1901534"/>
                </a:cubicBezTo>
                <a:cubicBezTo>
                  <a:pt x="2260980" y="1817844"/>
                  <a:pt x="2363557" y="1789080"/>
                  <a:pt x="2530502" y="1669679"/>
                </a:cubicBezTo>
                <a:cubicBezTo>
                  <a:pt x="2662278" y="1520970"/>
                  <a:pt x="2675835" y="1530217"/>
                  <a:pt x="2699182" y="1366181"/>
                </a:cubicBezTo>
                <a:cubicBezTo>
                  <a:pt x="2722529" y="1202145"/>
                  <a:pt x="2678699" y="1127419"/>
                  <a:pt x="2662122" y="998725"/>
                </a:cubicBezTo>
                <a:cubicBezTo>
                  <a:pt x="2645545" y="870031"/>
                  <a:pt x="2463832" y="150472"/>
                  <a:pt x="2715651" y="41078"/>
                </a:cubicBezTo>
                <a:cubicBezTo>
                  <a:pt x="2967470" y="-68316"/>
                  <a:pt x="4298794" y="64137"/>
                  <a:pt x="4700573" y="166520"/>
                </a:cubicBezTo>
                <a:cubicBezTo>
                  <a:pt x="4978530" y="491576"/>
                  <a:pt x="5179234" y="407885"/>
                  <a:pt x="5437824" y="719458"/>
                </a:cubicBezTo>
                <a:cubicBezTo>
                  <a:pt x="5567200" y="878332"/>
                  <a:pt x="5550862" y="911195"/>
                  <a:pt x="5600704" y="1180434"/>
                </a:cubicBezTo>
                <a:cubicBezTo>
                  <a:pt x="5623714" y="1289737"/>
                  <a:pt x="5663966" y="1385077"/>
                  <a:pt x="5801239" y="1497740"/>
                </a:cubicBezTo>
                <a:cubicBezTo>
                  <a:pt x="5938512" y="1610403"/>
                  <a:pt x="6114551" y="1501029"/>
                  <a:pt x="6500543" y="1545750"/>
                </a:cubicBezTo>
                <a:cubicBezTo>
                  <a:pt x="6575874" y="1549440"/>
                  <a:pt x="6790737" y="1612135"/>
                  <a:pt x="6839384" y="1789515"/>
                </a:cubicBezTo>
                <a:cubicBezTo>
                  <a:pt x="6908372" y="2007009"/>
                  <a:pt x="6933356" y="2208329"/>
                  <a:pt x="6937913" y="2575218"/>
                </a:cubicBezTo>
                <a:cubicBezTo>
                  <a:pt x="6936610" y="2736953"/>
                  <a:pt x="6928413" y="3172142"/>
                  <a:pt x="6807471" y="3444422"/>
                </a:cubicBezTo>
                <a:cubicBezTo>
                  <a:pt x="6686529" y="3716702"/>
                  <a:pt x="6623674" y="3801497"/>
                  <a:pt x="6452582" y="3916470"/>
                </a:cubicBezTo>
                <a:cubicBezTo>
                  <a:pt x="6274069" y="4043692"/>
                  <a:pt x="6114501" y="4087243"/>
                  <a:pt x="5958291" y="4158906"/>
                </a:cubicBezTo>
                <a:cubicBezTo>
                  <a:pt x="5800867" y="4233143"/>
                  <a:pt x="5650266" y="4283497"/>
                  <a:pt x="5486018" y="4381617"/>
                </a:cubicBezTo>
                <a:cubicBezTo>
                  <a:pt x="5360806" y="4452891"/>
                  <a:pt x="5267222" y="4535157"/>
                  <a:pt x="5193420" y="4681674"/>
                </a:cubicBezTo>
                <a:cubicBezTo>
                  <a:pt x="5119618" y="4828191"/>
                  <a:pt x="5139233" y="5146842"/>
                  <a:pt x="5002177" y="5301747"/>
                </a:cubicBezTo>
                <a:cubicBezTo>
                  <a:pt x="4845662" y="5495916"/>
                  <a:pt x="4564494" y="5609845"/>
                  <a:pt x="4429700" y="5634550"/>
                </a:cubicBezTo>
                <a:cubicBezTo>
                  <a:pt x="4294906" y="5659255"/>
                  <a:pt x="4138389" y="5651527"/>
                  <a:pt x="3988258" y="5602377"/>
                </a:cubicBezTo>
                <a:cubicBezTo>
                  <a:pt x="3838127" y="5553227"/>
                  <a:pt x="3741255" y="5383785"/>
                  <a:pt x="3528916" y="5339651"/>
                </a:cubicBezTo>
                <a:cubicBezTo>
                  <a:pt x="3269685" y="5342409"/>
                  <a:pt x="3067514" y="5520049"/>
                  <a:pt x="2884555" y="5636539"/>
                </a:cubicBezTo>
                <a:cubicBezTo>
                  <a:pt x="2719275" y="5734670"/>
                  <a:pt x="2630869" y="5784976"/>
                  <a:pt x="2466085" y="5851429"/>
                </a:cubicBezTo>
                <a:cubicBezTo>
                  <a:pt x="2301301" y="5917882"/>
                  <a:pt x="1997754" y="6017529"/>
                  <a:pt x="1755477" y="6060622"/>
                </a:cubicBezTo>
                <a:cubicBezTo>
                  <a:pt x="1513200" y="6103715"/>
                  <a:pt x="1243837" y="6139537"/>
                  <a:pt x="994840" y="6098267"/>
                </a:cubicBezTo>
                <a:cubicBezTo>
                  <a:pt x="745843" y="6056997"/>
                  <a:pt x="354391" y="6033074"/>
                  <a:pt x="193111" y="5745272"/>
                </a:cubicBezTo>
                <a:cubicBezTo>
                  <a:pt x="-83110" y="5447245"/>
                  <a:pt x="12948" y="4666353"/>
                  <a:pt x="29763" y="4204724"/>
                </a:cubicBezTo>
                <a:close/>
              </a:path>
            </a:pathLst>
          </a:custGeom>
          <a:pattFill prst="pct5">
            <a:fgClr>
              <a:schemeClr val="tx2"/>
            </a:fgClr>
            <a:bgClr>
              <a:schemeClr val="bg1"/>
            </a:bgClr>
          </a:pattFill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nb-NO" noProof="0"/>
          </a:p>
        </p:txBody>
      </p:sp>
      <p:sp>
        <p:nvSpPr>
          <p:cNvPr id="16" name="Tittel 15">
            <a:extLst>
              <a:ext uri="{FF2B5EF4-FFF2-40B4-BE49-F238E27FC236}">
                <a16:creationId xmlns:a16="http://schemas.microsoft.com/office/drawing/2014/main" id="{4E4A22AF-DF4B-CE40-92D8-47F07305A9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4175" y="960895"/>
            <a:ext cx="4648200" cy="929897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0" name="Plassholder for tekst 9">
            <a:extLst>
              <a:ext uri="{FF2B5EF4-FFF2-40B4-BE49-F238E27FC236}">
                <a16:creationId xmlns:a16="http://schemas.microsoft.com/office/drawing/2014/main" id="{B5BAF402-50DC-D5C5-97D0-A4C0D04A190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734175" y="1890793"/>
            <a:ext cx="4648200" cy="378573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 noProof="0"/>
              <a:t>Klikk for å redigere tekst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B49622E-3BD6-CA15-8F48-7E3E08A69FF6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nb-NO" noProof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04586E5-137A-12DD-236E-C87960711E96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B1A45C82-4439-8848-AE67-A80D69C31A1D}" type="slidenum">
              <a:rPr lang="nb-NO" noProof="0" smtClean="0"/>
              <a:pPr/>
              <a:t>‹#›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33251011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iform 7">
            <a:extLst>
              <a:ext uri="{FF2B5EF4-FFF2-40B4-BE49-F238E27FC236}">
                <a16:creationId xmlns:a16="http://schemas.microsoft.com/office/drawing/2014/main" id="{F769125A-8C59-74FD-68E5-FD94CF3B8B44}"/>
              </a:ext>
            </a:extLst>
          </p:cNvPr>
          <p:cNvSpPr/>
          <p:nvPr userDrawn="1"/>
        </p:nvSpPr>
        <p:spPr>
          <a:xfrm>
            <a:off x="1806955" y="-1"/>
            <a:ext cx="8890595" cy="6858000"/>
          </a:xfrm>
          <a:custGeom>
            <a:avLst/>
            <a:gdLst>
              <a:gd name="connsiteX0" fmla="*/ 3574753 w 8890595"/>
              <a:gd name="connsiteY0" fmla="*/ 0 h 6858000"/>
              <a:gd name="connsiteX1" fmla="*/ 5622723 w 8890595"/>
              <a:gd name="connsiteY1" fmla="*/ 0 h 6858000"/>
              <a:gd name="connsiteX2" fmla="*/ 5626397 w 8890595"/>
              <a:gd name="connsiteY2" fmla="*/ 2114 h 6858000"/>
              <a:gd name="connsiteX3" fmla="*/ 6631640 w 8890595"/>
              <a:gd name="connsiteY3" fmla="*/ 811652 h 6858000"/>
              <a:gd name="connsiteX4" fmla="*/ 8455196 w 8890595"/>
              <a:gd name="connsiteY4" fmla="*/ 2181410 h 6858000"/>
              <a:gd name="connsiteX5" fmla="*/ 8885510 w 8890595"/>
              <a:gd name="connsiteY5" fmla="*/ 4313611 h 6858000"/>
              <a:gd name="connsiteX6" fmla="*/ 7955768 w 8890595"/>
              <a:gd name="connsiteY6" fmla="*/ 5733442 h 6858000"/>
              <a:gd name="connsiteX7" fmla="*/ 5822662 w 8890595"/>
              <a:gd name="connsiteY7" fmla="*/ 5784850 h 6858000"/>
              <a:gd name="connsiteX8" fmla="*/ 4698236 w 8890595"/>
              <a:gd name="connsiteY8" fmla="*/ 6627323 h 6858000"/>
              <a:gd name="connsiteX9" fmla="*/ 4471723 w 8890595"/>
              <a:gd name="connsiteY9" fmla="*/ 6858000 h 6858000"/>
              <a:gd name="connsiteX10" fmla="*/ 1572353 w 8890595"/>
              <a:gd name="connsiteY10" fmla="*/ 6858000 h 6858000"/>
              <a:gd name="connsiteX11" fmla="*/ 1564154 w 8890595"/>
              <a:gd name="connsiteY11" fmla="*/ 6847846 h 6858000"/>
              <a:gd name="connsiteX12" fmla="*/ 648837 w 8890595"/>
              <a:gd name="connsiteY12" fmla="*/ 5419991 h 6858000"/>
              <a:gd name="connsiteX13" fmla="*/ 22698 w 8890595"/>
              <a:gd name="connsiteY13" fmla="*/ 3796132 h 6858000"/>
              <a:gd name="connsiteX14" fmla="*/ 521303 w 8890595"/>
              <a:gd name="connsiteY14" fmla="*/ 1961760 h 6858000"/>
              <a:gd name="connsiteX15" fmla="*/ 2854716 w 8890595"/>
              <a:gd name="connsiteY15" fmla="*/ 309724 h 6858000"/>
              <a:gd name="connsiteX16" fmla="*/ 3561939 w 8890595"/>
              <a:gd name="connsiteY16" fmla="*/ 5076 h 6858000"/>
              <a:gd name="connsiteX17" fmla="*/ 3574753 w 8890595"/>
              <a:gd name="connsiteY1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8890595" h="6858000">
                <a:moveTo>
                  <a:pt x="3574753" y="0"/>
                </a:moveTo>
                <a:lnTo>
                  <a:pt x="5622723" y="0"/>
                </a:lnTo>
                <a:lnTo>
                  <a:pt x="5626397" y="2114"/>
                </a:lnTo>
                <a:cubicBezTo>
                  <a:pt x="5947189" y="210180"/>
                  <a:pt x="6251835" y="515846"/>
                  <a:pt x="6631640" y="811652"/>
                </a:cubicBezTo>
                <a:cubicBezTo>
                  <a:pt x="7239330" y="1284941"/>
                  <a:pt x="8092633" y="1539775"/>
                  <a:pt x="8455196" y="2181410"/>
                </a:cubicBezTo>
                <a:cubicBezTo>
                  <a:pt x="8739971" y="2745080"/>
                  <a:pt x="8924046" y="3865203"/>
                  <a:pt x="8885510" y="4313611"/>
                </a:cubicBezTo>
                <a:cubicBezTo>
                  <a:pt x="8835304" y="4994928"/>
                  <a:pt x="8338851" y="5533867"/>
                  <a:pt x="7955768" y="5733442"/>
                </a:cubicBezTo>
                <a:cubicBezTo>
                  <a:pt x="7057655" y="6172800"/>
                  <a:pt x="6785265" y="5556942"/>
                  <a:pt x="5822662" y="5784850"/>
                </a:cubicBezTo>
                <a:cubicBezTo>
                  <a:pt x="5439454" y="5919457"/>
                  <a:pt x="5065024" y="6259233"/>
                  <a:pt x="4698236" y="6627323"/>
                </a:cubicBezTo>
                <a:lnTo>
                  <a:pt x="4471723" y="6858000"/>
                </a:lnTo>
                <a:lnTo>
                  <a:pt x="1572353" y="6858000"/>
                </a:lnTo>
                <a:lnTo>
                  <a:pt x="1564154" y="6847846"/>
                </a:lnTo>
                <a:cubicBezTo>
                  <a:pt x="1151450" y="6315922"/>
                  <a:pt x="812623" y="5718874"/>
                  <a:pt x="648837" y="5419991"/>
                </a:cubicBezTo>
                <a:cubicBezTo>
                  <a:pt x="412391" y="4990527"/>
                  <a:pt x="78484" y="4371779"/>
                  <a:pt x="22698" y="3796132"/>
                </a:cubicBezTo>
                <a:cubicBezTo>
                  <a:pt x="-62730" y="3286007"/>
                  <a:pt x="90736" y="2541961"/>
                  <a:pt x="521303" y="1961760"/>
                </a:cubicBezTo>
                <a:cubicBezTo>
                  <a:pt x="951870" y="1381559"/>
                  <a:pt x="1649215" y="776786"/>
                  <a:pt x="2854716" y="309724"/>
                </a:cubicBezTo>
                <a:cubicBezTo>
                  <a:pt x="3127698" y="188962"/>
                  <a:pt x="3358795" y="87597"/>
                  <a:pt x="3561939" y="5076"/>
                </a:cubicBezTo>
                <a:lnTo>
                  <a:pt x="3574753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 noProof="0"/>
          </a:p>
        </p:txBody>
      </p:sp>
      <p:sp>
        <p:nvSpPr>
          <p:cNvPr id="13" name="Plassholder for tekst 8">
            <a:extLst>
              <a:ext uri="{FF2B5EF4-FFF2-40B4-BE49-F238E27FC236}">
                <a16:creationId xmlns:a16="http://schemas.microsoft.com/office/drawing/2014/main" id="{BDF353A1-8AFC-9C43-AE6F-5FE00F53C0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71942" y="4471329"/>
            <a:ext cx="4648116" cy="49225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8395B0C5-3C95-D14B-91FC-B792763994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0426" y="2786932"/>
            <a:ext cx="2531149" cy="1284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869627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nb-NO"/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9847" y="570600"/>
            <a:ext cx="4932153" cy="6287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99152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3 Standar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3DF313CA-B52F-3512-1BD2-15E9638D7C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13998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36" imgH="136" progId="TCLayout.ActiveDocument.1">
                  <p:embed/>
                </p:oleObj>
              </mc:Choice>
              <mc:Fallback>
                <p:oleObj name="think-cell Slide" r:id="rId3" imgW="136" imgH="13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F313CA-B52F-3512-1BD2-15E9638D7C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2F39A439-6A06-E8DD-249A-E68235EE9AB9}"/>
              </a:ext>
            </a:extLst>
          </p:cNvPr>
          <p:cNvSpPr>
            <a:spLocks/>
          </p:cNvSpPr>
          <p:nvPr userDrawn="1"/>
        </p:nvSpPr>
        <p:spPr>
          <a:xfrm rot="16200000" flipH="1">
            <a:off x="2889250" y="-2886076"/>
            <a:ext cx="6419849" cy="12192001"/>
          </a:xfrm>
          <a:prstGeom prst="rect">
            <a:avLst/>
          </a:prstGeom>
          <a:gradFill flip="none" rotWithShape="1">
            <a:gsLst>
              <a:gs pos="86000">
                <a:srgbClr val="CADAEF">
                  <a:alpha val="40000"/>
                </a:srgbClr>
              </a:gs>
              <a:gs pos="1000">
                <a:schemeClr val="bg1"/>
              </a:gs>
            </a:gsLst>
            <a:lin ang="27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nb-NO" sz="1199">
              <a:solidFill>
                <a:schemeClr val="tx1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0FAE7AA-B7E6-C578-F982-65E400A8F0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551" y="657652"/>
            <a:ext cx="10496550" cy="590400"/>
          </a:xfrm>
        </p:spPr>
        <p:txBody>
          <a:bodyPr vert="horz"/>
          <a:lstStyle>
            <a:lvl1pPr rtl="0">
              <a:defRPr sz="2400" b="1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nb-NO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3014A13-8A99-8BD8-0995-41986FA5898C}"/>
              </a:ext>
            </a:extLst>
          </p:cNvPr>
          <p:cNvCxnSpPr>
            <a:cxnSpLocks/>
          </p:cNvCxnSpPr>
          <p:nvPr userDrawn="1"/>
        </p:nvCxnSpPr>
        <p:spPr>
          <a:xfrm>
            <a:off x="590551" y="490509"/>
            <a:ext cx="977822" cy="0"/>
          </a:xfrm>
          <a:prstGeom prst="line">
            <a:avLst/>
          </a:prstGeom>
          <a:ln w="38100">
            <a:gradFill>
              <a:gsLst>
                <a:gs pos="3000">
                  <a:srgbClr val="2A69BD"/>
                </a:gs>
                <a:gs pos="94000">
                  <a:srgbClr val="001A58"/>
                </a:gs>
              </a:gsLst>
              <a:lin ang="0" scaled="0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2" descr="Pressemeldinger | KS">
            <a:extLst>
              <a:ext uri="{FF2B5EF4-FFF2-40B4-BE49-F238E27FC236}">
                <a16:creationId xmlns:a16="http://schemas.microsoft.com/office/drawing/2014/main" id="{0EAECCEC-44A5-F932-2C53-3CD9D540DDDB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35" t="12762" r="10420" b="12413"/>
          <a:stretch/>
        </p:blipFill>
        <p:spPr bwMode="auto">
          <a:xfrm>
            <a:off x="11129306" y="6519069"/>
            <a:ext cx="478494" cy="234156"/>
          </a:xfrm>
          <a:prstGeom prst="rect">
            <a:avLst/>
          </a:prstGeom>
          <a:noFill/>
          <a:ln>
            <a:solidFill>
              <a:srgbClr val="001A58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C527AF03-BDFC-6DF6-07F0-689788D862E9}"/>
              </a:ext>
            </a:extLst>
          </p:cNvPr>
          <p:cNvSpPr>
            <a:spLocks/>
          </p:cNvSpPr>
          <p:nvPr userDrawn="1"/>
        </p:nvSpPr>
        <p:spPr>
          <a:xfrm>
            <a:off x="12633398" y="751466"/>
            <a:ext cx="772886" cy="772886"/>
          </a:xfrm>
          <a:prstGeom prst="rect">
            <a:avLst/>
          </a:prstGeom>
          <a:solidFill>
            <a:srgbClr val="001A5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8F56148-41CB-AC80-7E3C-5D020A887F84}"/>
              </a:ext>
            </a:extLst>
          </p:cNvPr>
          <p:cNvSpPr>
            <a:spLocks/>
          </p:cNvSpPr>
          <p:nvPr userDrawn="1"/>
        </p:nvSpPr>
        <p:spPr>
          <a:xfrm>
            <a:off x="13637061" y="751466"/>
            <a:ext cx="772886" cy="772886"/>
          </a:xfrm>
          <a:prstGeom prst="rect">
            <a:avLst/>
          </a:prstGeom>
          <a:solidFill>
            <a:srgbClr val="E1EC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E3227FE-15D4-2E6A-8F7C-D7A7A7C49292}"/>
              </a:ext>
            </a:extLst>
          </p:cNvPr>
          <p:cNvSpPr>
            <a:spLocks/>
          </p:cNvSpPr>
          <p:nvPr userDrawn="1"/>
        </p:nvSpPr>
        <p:spPr>
          <a:xfrm>
            <a:off x="14640724" y="751466"/>
            <a:ext cx="772886" cy="772886"/>
          </a:xfrm>
          <a:prstGeom prst="rect">
            <a:avLst/>
          </a:prstGeom>
          <a:solidFill>
            <a:srgbClr val="00807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E3D017D-8010-0AAA-919F-F71C8C3511D4}"/>
              </a:ext>
            </a:extLst>
          </p:cNvPr>
          <p:cNvSpPr>
            <a:spLocks/>
          </p:cNvSpPr>
          <p:nvPr userDrawn="1"/>
        </p:nvSpPr>
        <p:spPr>
          <a:xfrm>
            <a:off x="15644387" y="751466"/>
            <a:ext cx="772886" cy="772886"/>
          </a:xfrm>
          <a:prstGeom prst="rect">
            <a:avLst/>
          </a:prstGeom>
          <a:solidFill>
            <a:srgbClr val="046FA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DE04965-7111-7C22-092B-A9F43B7DB992}"/>
              </a:ext>
            </a:extLst>
          </p:cNvPr>
          <p:cNvSpPr>
            <a:spLocks/>
          </p:cNvSpPr>
          <p:nvPr userDrawn="1"/>
        </p:nvSpPr>
        <p:spPr>
          <a:xfrm>
            <a:off x="16648050" y="751466"/>
            <a:ext cx="772886" cy="772886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907515D-2F78-0443-E973-3B376409D09C}"/>
              </a:ext>
            </a:extLst>
          </p:cNvPr>
          <p:cNvSpPr>
            <a:spLocks/>
          </p:cNvSpPr>
          <p:nvPr userDrawn="1"/>
        </p:nvSpPr>
        <p:spPr>
          <a:xfrm>
            <a:off x="17651713" y="751466"/>
            <a:ext cx="772886" cy="772886"/>
          </a:xfrm>
          <a:prstGeom prst="rect">
            <a:avLst/>
          </a:prstGeom>
          <a:solidFill>
            <a:srgbClr val="ECF3F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2FC2704-10E4-443F-FE92-A3E41C33253E}"/>
              </a:ext>
            </a:extLst>
          </p:cNvPr>
          <p:cNvSpPr>
            <a:spLocks/>
          </p:cNvSpPr>
          <p:nvPr userDrawn="1"/>
        </p:nvSpPr>
        <p:spPr>
          <a:xfrm>
            <a:off x="12633399" y="1698523"/>
            <a:ext cx="772886" cy="772886"/>
          </a:xfrm>
          <a:prstGeom prst="rect">
            <a:avLst/>
          </a:prstGeom>
          <a:solidFill>
            <a:srgbClr val="1E9CD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159CD7C-0084-02A2-2E10-E9C73C8EE046}"/>
              </a:ext>
            </a:extLst>
          </p:cNvPr>
          <p:cNvSpPr>
            <a:spLocks/>
          </p:cNvSpPr>
          <p:nvPr userDrawn="1"/>
        </p:nvSpPr>
        <p:spPr>
          <a:xfrm>
            <a:off x="13637062" y="1698523"/>
            <a:ext cx="772886" cy="772886"/>
          </a:xfrm>
          <a:prstGeom prst="rect">
            <a:avLst/>
          </a:prstGeom>
          <a:solidFill>
            <a:srgbClr val="44444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01CFC50-1C32-212B-CF19-79DF6BF010E3}"/>
              </a:ext>
            </a:extLst>
          </p:cNvPr>
          <p:cNvSpPr>
            <a:spLocks/>
          </p:cNvSpPr>
          <p:nvPr userDrawn="1"/>
        </p:nvSpPr>
        <p:spPr>
          <a:xfrm>
            <a:off x="14640725" y="1698523"/>
            <a:ext cx="772886" cy="772886"/>
          </a:xfrm>
          <a:prstGeom prst="rect">
            <a:avLst/>
          </a:prstGeom>
          <a:solidFill>
            <a:srgbClr val="D4D4D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FC60BD9-3825-216D-6FA9-5422C5A5E0E7}"/>
              </a:ext>
            </a:extLst>
          </p:cNvPr>
          <p:cNvSpPr>
            <a:spLocks/>
          </p:cNvSpPr>
          <p:nvPr userDrawn="1"/>
        </p:nvSpPr>
        <p:spPr>
          <a:xfrm>
            <a:off x="15644387" y="1698523"/>
            <a:ext cx="772886" cy="772886"/>
          </a:xfrm>
          <a:prstGeom prst="rect">
            <a:avLst/>
          </a:prstGeom>
          <a:solidFill>
            <a:srgbClr val="DC5B0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863B9CC-CF05-2FFB-1B7A-12260D76979D}"/>
              </a:ext>
            </a:extLst>
          </p:cNvPr>
          <p:cNvSpPr>
            <a:spLocks/>
          </p:cNvSpPr>
          <p:nvPr userDrawn="1"/>
        </p:nvSpPr>
        <p:spPr>
          <a:xfrm>
            <a:off x="16648050" y="1698523"/>
            <a:ext cx="772886" cy="772886"/>
          </a:xfrm>
          <a:prstGeom prst="rect">
            <a:avLst/>
          </a:prstGeom>
          <a:solidFill>
            <a:srgbClr val="2A69B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5" name="Date Placeholder 2">
            <a:extLst>
              <a:ext uri="{FF2B5EF4-FFF2-40B4-BE49-F238E27FC236}">
                <a16:creationId xmlns:a16="http://schemas.microsoft.com/office/drawing/2014/main" id="{8B48F697-BE5E-F90A-0B01-D4389636F07C}"/>
              </a:ext>
            </a:extLst>
          </p:cNvPr>
          <p:cNvSpPr txBox="1">
            <a:spLocks/>
          </p:cNvSpPr>
          <p:nvPr userDrawn="1"/>
        </p:nvSpPr>
        <p:spPr>
          <a:xfrm>
            <a:off x="994845" y="6560940"/>
            <a:ext cx="1275686" cy="123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IN" sz="8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B3F264-BF00-4C55-B666-1E43D1888BE4}" type="datetime1">
              <a:rPr kumimoji="0" lang="nb-NO" sz="800" b="0" i="0" u="none" strike="noStrike" kern="1200" cap="none" spc="0" normalizeH="0" baseline="0" noProof="0" smtClean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.04.2026</a:t>
            </a:fld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srgbClr val="1A1A24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6" name="Footer Placeholder 3">
            <a:extLst>
              <a:ext uri="{FF2B5EF4-FFF2-40B4-BE49-F238E27FC236}">
                <a16:creationId xmlns:a16="http://schemas.microsoft.com/office/drawing/2014/main" id="{43457B87-36A9-39A2-B75D-8385AB5988BD}"/>
              </a:ext>
            </a:extLst>
          </p:cNvPr>
          <p:cNvSpPr txBox="1">
            <a:spLocks/>
          </p:cNvSpPr>
          <p:nvPr userDrawn="1"/>
        </p:nvSpPr>
        <p:spPr>
          <a:xfrm>
            <a:off x="2270531" y="6560940"/>
            <a:ext cx="3825470" cy="123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IN" sz="8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rPr>
              <a:t>Effektiv skalering av KI i kommunal helse- og omsorgstjeneste</a:t>
            </a:r>
          </a:p>
        </p:txBody>
      </p:sp>
      <p:sp>
        <p:nvSpPr>
          <p:cNvPr id="37" name="Slide Number Placeholder 4">
            <a:extLst>
              <a:ext uri="{FF2B5EF4-FFF2-40B4-BE49-F238E27FC236}">
                <a16:creationId xmlns:a16="http://schemas.microsoft.com/office/drawing/2014/main" id="{2DD79BAD-345B-6A6F-6F83-0A754CD1EA0B}"/>
              </a:ext>
            </a:extLst>
          </p:cNvPr>
          <p:cNvSpPr txBox="1">
            <a:spLocks/>
          </p:cNvSpPr>
          <p:nvPr userDrawn="1"/>
        </p:nvSpPr>
        <p:spPr>
          <a:xfrm>
            <a:off x="485747" y="6560940"/>
            <a:ext cx="509098" cy="123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IN" sz="8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3AE1883-0942-4AA3-9DB2-9C7C3A0314B1}" type="slidenum">
              <a:rPr kumimoji="0" lang="nb-NO" sz="800" b="0" i="0" u="none" strike="noStrike" kern="1200" cap="none" spc="0" normalizeH="0" baseline="0" noProof="0" smtClean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srgbClr val="1A1A24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2928466"/>
      </p:ext>
    </p:extLst>
  </p:cSld>
  <p:clrMapOvr>
    <a:masterClrMapping/>
  </p:clrMapOvr>
  <p:hf hd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 og innhold - lysblå bakgru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7480D048-D9E0-7447-AC67-79F0EF52E519}"/>
              </a:ext>
            </a:extLst>
          </p:cNvPr>
          <p:cNvSpPr/>
          <p:nvPr userDrawn="1"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rgbClr val="E3ECE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7" name="Plassholder for tittel 1"/>
          <p:cNvSpPr>
            <a:spLocks noGrp="1"/>
          </p:cNvSpPr>
          <p:nvPr>
            <p:ph type="title"/>
          </p:nvPr>
        </p:nvSpPr>
        <p:spPr>
          <a:xfrm>
            <a:off x="609600" y="363546"/>
            <a:ext cx="10972800" cy="11321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1046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9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9600" y="617378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540C3D-7D2E-B046-9707-68B92A5A8B5C}" type="datetimeFigureOut">
              <a:t>20.04.2026</a:t>
            </a:fld>
            <a:endParaRPr lang="nb-NO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165600" y="617378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11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737601" y="6173788"/>
            <a:ext cx="1559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31872E-8BFC-214A-B7E1-4CF644173512}" type="slidenum">
              <a:t>‹#›</a:t>
            </a:fld>
            <a:endParaRPr lang="nb-NO"/>
          </a:p>
        </p:txBody>
      </p:sp>
      <p:sp>
        <p:nvSpPr>
          <p:cNvPr id="14" name="Plassholder for innhold 13"/>
          <p:cNvSpPr>
            <a:spLocks noGrp="1"/>
          </p:cNvSpPr>
          <p:nvPr>
            <p:ph sz="quarter" idx="10"/>
          </p:nvPr>
        </p:nvSpPr>
        <p:spPr>
          <a:xfrm>
            <a:off x="609601" y="1495660"/>
            <a:ext cx="10972800" cy="4414252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pic>
        <p:nvPicPr>
          <p:cNvPr id="12" name="Bilde 11" descr="ks_hovedlogo_rgb.png">
            <a:extLst>
              <a:ext uri="{FF2B5EF4-FFF2-40B4-BE49-F238E27FC236}">
                <a16:creationId xmlns:a16="http://schemas.microsoft.com/office/drawing/2014/main" id="{46A0EEB7-D820-334D-B25B-E9ABF0D7B5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8244" y="6173787"/>
            <a:ext cx="730357" cy="364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95014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 hasCustomPrompt="1"/>
          </p:nvPr>
        </p:nvSpPr>
        <p:spPr>
          <a:xfrm>
            <a:off x="960000" y="1476277"/>
            <a:ext cx="10752000" cy="576097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>
                <a:solidFill>
                  <a:srgbClr val="939598"/>
                </a:solidFill>
              </a:defRPr>
            </a:lvl1pPr>
          </a:lstStyle>
          <a:p>
            <a:pPr lvl="0"/>
            <a:r>
              <a:rPr lang="nb-NO"/>
              <a:t>Undertittel</a:t>
            </a:r>
          </a:p>
        </p:txBody>
      </p:sp>
    </p:spTree>
    <p:extLst>
      <p:ext uri="{BB962C8B-B14F-4D97-AF65-F5344CB8AC3E}">
        <p14:creationId xmlns:p14="http://schemas.microsoft.com/office/powerpoint/2010/main" val="19046270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7480D048-D9E0-7447-AC67-79F0EF52E519}"/>
              </a:ext>
            </a:extLst>
          </p:cNvPr>
          <p:cNvSpPr/>
          <p:nvPr userDrawn="1"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rgbClr val="E3ECE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Plassholder for tittel 1"/>
          <p:cNvSpPr>
            <a:spLocks noGrp="1"/>
          </p:cNvSpPr>
          <p:nvPr>
            <p:ph type="title"/>
          </p:nvPr>
        </p:nvSpPr>
        <p:spPr>
          <a:xfrm>
            <a:off x="609600" y="363546"/>
            <a:ext cx="10972800" cy="11321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1046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9600" y="617378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540C3D-7D2E-B046-9707-68B92A5A8B5C}" type="datetimeFigureOut">
              <a:t>20.04.2026</a:t>
            </a:fld>
            <a:endParaRPr lang="nb-NO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165600" y="617378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11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737601" y="6173788"/>
            <a:ext cx="1559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31872E-8BFC-214A-B7E1-4CF644173512}" type="slidenum">
              <a:t>‹#›</a:t>
            </a:fld>
            <a:endParaRPr lang="nb-NO"/>
          </a:p>
        </p:txBody>
      </p:sp>
      <p:sp>
        <p:nvSpPr>
          <p:cNvPr id="14" name="Plassholder for innhold 13"/>
          <p:cNvSpPr>
            <a:spLocks noGrp="1"/>
          </p:cNvSpPr>
          <p:nvPr>
            <p:ph sz="quarter" idx="10"/>
          </p:nvPr>
        </p:nvSpPr>
        <p:spPr>
          <a:xfrm>
            <a:off x="609601" y="1495660"/>
            <a:ext cx="10972800" cy="4414252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2" name="Bilde 11" descr="ks_hovedlogo_rgb.png">
            <a:extLst>
              <a:ext uri="{FF2B5EF4-FFF2-40B4-BE49-F238E27FC236}">
                <a16:creationId xmlns:a16="http://schemas.microsoft.com/office/drawing/2014/main" id="{46A0EEB7-D820-334D-B25B-E9ABF0D7B5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8244" y="6173787"/>
            <a:ext cx="730357" cy="364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88495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ksempel 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7480D048-D9E0-7447-AC67-79F0EF52E519}"/>
              </a:ext>
            </a:extLst>
          </p:cNvPr>
          <p:cNvSpPr/>
          <p:nvPr userDrawn="1"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Plassholder for tittel 1"/>
          <p:cNvSpPr>
            <a:spLocks noGrp="1"/>
          </p:cNvSpPr>
          <p:nvPr>
            <p:ph type="title"/>
          </p:nvPr>
        </p:nvSpPr>
        <p:spPr>
          <a:xfrm>
            <a:off x="609600" y="696774"/>
            <a:ext cx="5343939" cy="9133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1046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9600" y="617378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540C3D-7D2E-B046-9707-68B92A5A8B5C}" type="datetimeFigureOut">
              <a:t>20.04.2026</a:t>
            </a:fld>
            <a:endParaRPr lang="nb-NO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165600" y="617378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11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737601" y="6173788"/>
            <a:ext cx="1559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31872E-8BFC-214A-B7E1-4CF644173512}" type="slidenum">
              <a:t>‹#›</a:t>
            </a:fld>
            <a:endParaRPr lang="nb-NO"/>
          </a:p>
        </p:txBody>
      </p:sp>
      <p:sp>
        <p:nvSpPr>
          <p:cNvPr id="14" name="Plassholder for innhold 13"/>
          <p:cNvSpPr>
            <a:spLocks noGrp="1"/>
          </p:cNvSpPr>
          <p:nvPr>
            <p:ph sz="quarter" idx="10"/>
          </p:nvPr>
        </p:nvSpPr>
        <p:spPr>
          <a:xfrm>
            <a:off x="609601" y="1759226"/>
            <a:ext cx="5343938" cy="4150686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2" name="Bilde 11" descr="ks_hovedlogo_rgb.png">
            <a:extLst>
              <a:ext uri="{FF2B5EF4-FFF2-40B4-BE49-F238E27FC236}">
                <a16:creationId xmlns:a16="http://schemas.microsoft.com/office/drawing/2014/main" id="{46A0EEB7-D820-334D-B25B-E9ABF0D7B5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8244" y="6173787"/>
            <a:ext cx="730357" cy="364835"/>
          </a:xfrm>
          <a:prstGeom prst="rect">
            <a:avLst/>
          </a:prstGeom>
        </p:spPr>
      </p:pic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F8775785-5BFF-6D40-A053-A80A0C6E548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096001" y="0"/>
            <a:ext cx="6096000" cy="6858000"/>
          </a:xfrm>
          <a:solidFill>
            <a:srgbClr val="E3ECED"/>
          </a:solidFill>
        </p:spPr>
        <p:txBody>
          <a:bodyPr/>
          <a:lstStyle/>
          <a:p>
            <a:r>
              <a:rPr lang="nb-NO"/>
              <a:t>Klikk for å sette inn bilde</a:t>
            </a:r>
          </a:p>
        </p:txBody>
      </p:sp>
    </p:spTree>
    <p:extLst>
      <p:ext uri="{BB962C8B-B14F-4D97-AF65-F5344CB8AC3E}">
        <p14:creationId xmlns:p14="http://schemas.microsoft.com/office/powerpoint/2010/main" val="23281538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ksempel 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ittel 1"/>
          <p:cNvSpPr>
            <a:spLocks noGrp="1"/>
          </p:cNvSpPr>
          <p:nvPr>
            <p:ph type="title"/>
          </p:nvPr>
        </p:nvSpPr>
        <p:spPr>
          <a:xfrm>
            <a:off x="6456845" y="548535"/>
            <a:ext cx="5343939" cy="11728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1046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9600" y="617378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540C3D-7D2E-B046-9707-68B92A5A8B5C}" type="datetimeFigureOut">
              <a:t>20.04.2026</a:t>
            </a:fld>
            <a:endParaRPr lang="nb-NO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165600" y="617378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11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737601" y="6173788"/>
            <a:ext cx="1559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31872E-8BFC-214A-B7E1-4CF644173512}" type="slidenum">
              <a:t>‹#›</a:t>
            </a:fld>
            <a:endParaRPr lang="nb-NO"/>
          </a:p>
        </p:txBody>
      </p:sp>
      <p:sp>
        <p:nvSpPr>
          <p:cNvPr id="14" name="Plassholder for innhold 13"/>
          <p:cNvSpPr>
            <a:spLocks noGrp="1"/>
          </p:cNvSpPr>
          <p:nvPr>
            <p:ph sz="quarter" idx="10"/>
          </p:nvPr>
        </p:nvSpPr>
        <p:spPr>
          <a:xfrm>
            <a:off x="6456846" y="1759226"/>
            <a:ext cx="5343938" cy="4150686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2" name="Bilde 11" descr="ks_hovedlogo_rgb.png">
            <a:extLst>
              <a:ext uri="{FF2B5EF4-FFF2-40B4-BE49-F238E27FC236}">
                <a16:creationId xmlns:a16="http://schemas.microsoft.com/office/drawing/2014/main" id="{46A0EEB7-D820-334D-B25B-E9ABF0D7B5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8244" y="6173787"/>
            <a:ext cx="730357" cy="364835"/>
          </a:xfrm>
          <a:prstGeom prst="rect">
            <a:avLst/>
          </a:prstGeom>
        </p:spPr>
      </p:pic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F8775785-5BFF-6D40-A053-A80A0C6E548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-1" y="0"/>
            <a:ext cx="6096000" cy="6858000"/>
          </a:xfrm>
          <a:solidFill>
            <a:srgbClr val="E3ECED"/>
          </a:solidFill>
        </p:spPr>
        <p:txBody>
          <a:bodyPr/>
          <a:lstStyle/>
          <a:p>
            <a:r>
              <a:rPr lang="nb-NO"/>
              <a:t>Klikk for å sette inn bilde</a:t>
            </a:r>
          </a:p>
        </p:txBody>
      </p:sp>
    </p:spTree>
    <p:extLst>
      <p:ext uri="{BB962C8B-B14F-4D97-AF65-F5344CB8AC3E}">
        <p14:creationId xmlns:p14="http://schemas.microsoft.com/office/powerpoint/2010/main" val="4125450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ksempel 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7480D048-D9E0-7447-AC67-79F0EF52E519}"/>
              </a:ext>
            </a:extLst>
          </p:cNvPr>
          <p:cNvSpPr/>
          <p:nvPr userDrawn="1"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rgbClr val="E3ECE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Plassholder for tittel 1"/>
          <p:cNvSpPr>
            <a:spLocks noGrp="1"/>
          </p:cNvSpPr>
          <p:nvPr>
            <p:ph type="title"/>
          </p:nvPr>
        </p:nvSpPr>
        <p:spPr>
          <a:xfrm>
            <a:off x="609600" y="696774"/>
            <a:ext cx="5343939" cy="9133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1046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9600" y="617378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540C3D-7D2E-B046-9707-68B92A5A8B5C}" type="datetimeFigureOut">
              <a:t>20.04.2026</a:t>
            </a:fld>
            <a:endParaRPr lang="nb-NO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165600" y="617378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11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737601" y="6173788"/>
            <a:ext cx="1559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31872E-8BFC-214A-B7E1-4CF644173512}" type="slidenum">
              <a:t>‹#›</a:t>
            </a:fld>
            <a:endParaRPr lang="nb-NO"/>
          </a:p>
        </p:txBody>
      </p:sp>
      <p:sp>
        <p:nvSpPr>
          <p:cNvPr id="14" name="Plassholder for innhold 13"/>
          <p:cNvSpPr>
            <a:spLocks noGrp="1"/>
          </p:cNvSpPr>
          <p:nvPr>
            <p:ph sz="quarter" idx="10"/>
          </p:nvPr>
        </p:nvSpPr>
        <p:spPr>
          <a:xfrm>
            <a:off x="609601" y="1759226"/>
            <a:ext cx="5343938" cy="4150686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2" name="Bilde 11" descr="ks_hovedlogo_rgb.png">
            <a:extLst>
              <a:ext uri="{FF2B5EF4-FFF2-40B4-BE49-F238E27FC236}">
                <a16:creationId xmlns:a16="http://schemas.microsoft.com/office/drawing/2014/main" id="{46A0EEB7-D820-334D-B25B-E9ABF0D7B5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8244" y="6173787"/>
            <a:ext cx="730357" cy="364835"/>
          </a:xfrm>
          <a:prstGeom prst="rect">
            <a:avLst/>
          </a:prstGeom>
        </p:spPr>
      </p:pic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F8775785-5BFF-6D40-A053-A80A0C6E548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096001" y="0"/>
            <a:ext cx="6096000" cy="6858000"/>
          </a:xfrm>
          <a:solidFill>
            <a:schemeClr val="bg1"/>
          </a:solidFill>
        </p:spPr>
        <p:txBody>
          <a:bodyPr/>
          <a:lstStyle/>
          <a:p>
            <a:r>
              <a:rPr lang="nb-NO"/>
              <a:t>Klikk for å sette inn bilde</a:t>
            </a:r>
          </a:p>
        </p:txBody>
      </p:sp>
      <p:sp>
        <p:nvSpPr>
          <p:cNvPr id="13" name="Plassholder for tittel 1">
            <a:extLst>
              <a:ext uri="{FF2B5EF4-FFF2-40B4-BE49-F238E27FC236}">
                <a16:creationId xmlns:a16="http://schemas.microsoft.com/office/drawing/2014/main" id="{559ADE44-D286-4C48-AF6F-703878012833}"/>
              </a:ext>
            </a:extLst>
          </p:cNvPr>
          <p:cNvSpPr txBox="1">
            <a:spLocks/>
          </p:cNvSpPr>
          <p:nvPr userDrawn="1"/>
        </p:nvSpPr>
        <p:spPr>
          <a:xfrm>
            <a:off x="1124619" y="319087"/>
            <a:ext cx="4780794" cy="3776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rgbClr val="00104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1800"/>
              <a:t>EKSEMPEL</a:t>
            </a:r>
          </a:p>
        </p:txBody>
      </p:sp>
      <p:pic>
        <p:nvPicPr>
          <p:cNvPr id="5" name="Bilde 4" descr="Et bilde som inneholder lys, tegning&#10;&#10;Automatisk generert beskrivelse">
            <a:extLst>
              <a:ext uri="{FF2B5EF4-FFF2-40B4-BE49-F238E27FC236}">
                <a16:creationId xmlns:a16="http://schemas.microsoft.com/office/drawing/2014/main" id="{BDAA196A-661F-1943-8354-6DA556F118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566" y="319087"/>
            <a:ext cx="335213" cy="381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61028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ksempel 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7480D048-D9E0-7447-AC67-79F0EF52E519}"/>
              </a:ext>
            </a:extLst>
          </p:cNvPr>
          <p:cNvSpPr/>
          <p:nvPr userDrawn="1"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rgbClr val="E3ECE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Plassholder for tittel 1"/>
          <p:cNvSpPr>
            <a:spLocks noGrp="1"/>
          </p:cNvSpPr>
          <p:nvPr>
            <p:ph type="title"/>
          </p:nvPr>
        </p:nvSpPr>
        <p:spPr>
          <a:xfrm>
            <a:off x="6456845" y="548535"/>
            <a:ext cx="5343939" cy="11728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1046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9600" y="617378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540C3D-7D2E-B046-9707-68B92A5A8B5C}" type="datetimeFigureOut">
              <a:t>20.04.2026</a:t>
            </a:fld>
            <a:endParaRPr lang="nb-NO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165600" y="617378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11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737601" y="6173788"/>
            <a:ext cx="1559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31872E-8BFC-214A-B7E1-4CF644173512}" type="slidenum">
              <a:t>‹#›</a:t>
            </a:fld>
            <a:endParaRPr lang="nb-NO"/>
          </a:p>
        </p:txBody>
      </p:sp>
      <p:sp>
        <p:nvSpPr>
          <p:cNvPr id="14" name="Plassholder for innhold 13"/>
          <p:cNvSpPr>
            <a:spLocks noGrp="1"/>
          </p:cNvSpPr>
          <p:nvPr>
            <p:ph sz="quarter" idx="10"/>
          </p:nvPr>
        </p:nvSpPr>
        <p:spPr>
          <a:xfrm>
            <a:off x="6456846" y="1759226"/>
            <a:ext cx="5343938" cy="4150686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2" name="Bilde 11" descr="ks_hovedlogo_rgb.png">
            <a:extLst>
              <a:ext uri="{FF2B5EF4-FFF2-40B4-BE49-F238E27FC236}">
                <a16:creationId xmlns:a16="http://schemas.microsoft.com/office/drawing/2014/main" id="{46A0EEB7-D820-334D-B25B-E9ABF0D7B5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8244" y="6173787"/>
            <a:ext cx="730357" cy="364835"/>
          </a:xfrm>
          <a:prstGeom prst="rect">
            <a:avLst/>
          </a:prstGeom>
        </p:spPr>
      </p:pic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F8775785-5BFF-6D40-A053-A80A0C6E548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-1" y="0"/>
            <a:ext cx="6096000" cy="6858000"/>
          </a:xfrm>
          <a:solidFill>
            <a:schemeClr val="bg1"/>
          </a:solidFill>
        </p:spPr>
        <p:txBody>
          <a:bodyPr/>
          <a:lstStyle/>
          <a:p>
            <a:r>
              <a:rPr lang="nb-NO"/>
              <a:t>Klikk for å sette inn bilde</a:t>
            </a:r>
          </a:p>
        </p:txBody>
      </p:sp>
      <p:sp>
        <p:nvSpPr>
          <p:cNvPr id="13" name="Plassholder for tittel 1">
            <a:extLst>
              <a:ext uri="{FF2B5EF4-FFF2-40B4-BE49-F238E27FC236}">
                <a16:creationId xmlns:a16="http://schemas.microsoft.com/office/drawing/2014/main" id="{76465E12-734C-3245-9C95-4F8EED55FA64}"/>
              </a:ext>
            </a:extLst>
          </p:cNvPr>
          <p:cNvSpPr txBox="1">
            <a:spLocks/>
          </p:cNvSpPr>
          <p:nvPr userDrawn="1"/>
        </p:nvSpPr>
        <p:spPr>
          <a:xfrm>
            <a:off x="6945848" y="319087"/>
            <a:ext cx="4780794" cy="3776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rgbClr val="00104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1800"/>
              <a:t>EKSEMPEL</a:t>
            </a:r>
          </a:p>
        </p:txBody>
      </p:sp>
      <p:pic>
        <p:nvPicPr>
          <p:cNvPr id="15" name="Bilde 14" descr="Et bilde som inneholder lys, tegning&#10;&#10;Automatisk generert beskrivelse">
            <a:extLst>
              <a:ext uri="{FF2B5EF4-FFF2-40B4-BE49-F238E27FC236}">
                <a16:creationId xmlns:a16="http://schemas.microsoft.com/office/drawing/2014/main" id="{D19E0E4C-2FD0-EE4A-8162-DFCEE973FC7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44795" y="319087"/>
            <a:ext cx="335213" cy="381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3335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20.04.2026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624392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20.04.2026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82255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09600" y="366591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9600" y="1548091"/>
            <a:ext cx="10972800" cy="43233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9600" y="617378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540C3D-7D2E-B046-9707-68B92A5A8B5C}" type="datetimeFigureOut">
              <a:t>20.04.2026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165600" y="617378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737601" y="6173788"/>
            <a:ext cx="1559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31872E-8BFC-214A-B7E1-4CF644173512}" type="slidenum">
              <a:t>‹#›</a:t>
            </a:fld>
            <a:endParaRPr lang="nb-NO"/>
          </a:p>
        </p:txBody>
      </p:sp>
      <p:pic>
        <p:nvPicPr>
          <p:cNvPr id="8" name="Bilde 7" descr="ks_hovedlogo_rgb.png"/>
          <p:cNvPicPr>
            <a:picLocks noChangeAspect="1"/>
          </p:cNvPicPr>
          <p:nvPr userDrawn="1"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8244" y="6173787"/>
            <a:ext cx="730357" cy="364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272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11" r:id="rId3"/>
    <p:sldLayoutId id="2147483714" r:id="rId4"/>
    <p:sldLayoutId id="2147483715" r:id="rId5"/>
    <p:sldLayoutId id="2147483712" r:id="rId6"/>
    <p:sldLayoutId id="2147483713" r:id="rId7"/>
    <p:sldLayoutId id="2147483701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  <p:sldLayoutId id="2147483649" r:id="rId15"/>
    <p:sldLayoutId id="2147483709" r:id="rId16"/>
    <p:sldLayoutId id="2147483710" r:id="rId17"/>
    <p:sldLayoutId id="2147483746" r:id="rId18"/>
    <p:sldLayoutId id="2147483747" r:id="rId19"/>
    <p:sldLayoutId id="2147483748" r:id="rId20"/>
    <p:sldLayoutId id="2147483749" r:id="rId21"/>
    <p:sldLayoutId id="2147483750" r:id="rId22"/>
    <p:sldLayoutId id="2147483751" r:id="rId23"/>
    <p:sldLayoutId id="2147483763" r:id="rId24"/>
    <p:sldLayoutId id="2147483764" r:id="rId25"/>
    <p:sldLayoutId id="2147483765" r:id="rId26"/>
    <p:sldLayoutId id="2147483766" r:id="rId27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rgbClr val="001A58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600" kern="1200">
          <a:solidFill>
            <a:srgbClr val="001A58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600" kern="1200">
          <a:solidFill>
            <a:srgbClr val="001A58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600" kern="1200">
          <a:solidFill>
            <a:srgbClr val="001A58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600" kern="1200">
          <a:solidFill>
            <a:srgbClr val="001A58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600" kern="1200">
          <a:solidFill>
            <a:srgbClr val="001A58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7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.xml"/><Relationship Id="rId6" Type="http://schemas.openxmlformats.org/officeDocument/2006/relationships/chart" Target="../charts/chart3.xml"/><Relationship Id="rId5" Type="http://schemas.openxmlformats.org/officeDocument/2006/relationships/image" Target="../media/image58.emf"/><Relationship Id="rId4" Type="http://schemas.openxmlformats.org/officeDocument/2006/relationships/oleObject" Target="../embeddings/oleObject3.bin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sv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60.sv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.xml"/><Relationship Id="rId6" Type="http://schemas.openxmlformats.org/officeDocument/2006/relationships/image" Target="../media/image59.svg"/><Relationship Id="rId5" Type="http://schemas.openxmlformats.org/officeDocument/2006/relationships/image" Target="../media/image58.emf"/><Relationship Id="rId10" Type="http://schemas.openxmlformats.org/officeDocument/2006/relationships/image" Target="../media/image63.svg"/><Relationship Id="rId4" Type="http://schemas.openxmlformats.org/officeDocument/2006/relationships/oleObject" Target="../embeddings/oleObject4.bin"/><Relationship Id="rId9" Type="http://schemas.openxmlformats.org/officeDocument/2006/relationships/image" Target="../media/image62.sv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sv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60.sv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6.xml"/><Relationship Id="rId6" Type="http://schemas.openxmlformats.org/officeDocument/2006/relationships/image" Target="../media/image59.svg"/><Relationship Id="rId5" Type="http://schemas.openxmlformats.org/officeDocument/2006/relationships/image" Target="../media/image58.emf"/><Relationship Id="rId10" Type="http://schemas.openxmlformats.org/officeDocument/2006/relationships/image" Target="../media/image61.svg"/><Relationship Id="rId4" Type="http://schemas.openxmlformats.org/officeDocument/2006/relationships/oleObject" Target="../embeddings/oleObject5.bin"/><Relationship Id="rId9" Type="http://schemas.openxmlformats.org/officeDocument/2006/relationships/image" Target="../media/image63.sv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sv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65.sv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7.xml"/><Relationship Id="rId6" Type="http://schemas.openxmlformats.org/officeDocument/2006/relationships/image" Target="../media/image64.svg"/><Relationship Id="rId5" Type="http://schemas.openxmlformats.org/officeDocument/2006/relationships/image" Target="../media/image58.emf"/><Relationship Id="rId10" Type="http://schemas.openxmlformats.org/officeDocument/2006/relationships/image" Target="../media/image68.svg"/><Relationship Id="rId4" Type="http://schemas.openxmlformats.org/officeDocument/2006/relationships/oleObject" Target="../embeddings/oleObject6.bin"/><Relationship Id="rId9" Type="http://schemas.openxmlformats.org/officeDocument/2006/relationships/image" Target="../media/image67.sv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sv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71.pn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8.xml"/><Relationship Id="rId6" Type="http://schemas.openxmlformats.org/officeDocument/2006/relationships/image" Target="../media/image70.svg"/><Relationship Id="rId5" Type="http://schemas.openxmlformats.org/officeDocument/2006/relationships/image" Target="../media/image69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59.sv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2.sv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.x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0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svg"/><Relationship Id="rId3" Type="http://schemas.openxmlformats.org/officeDocument/2006/relationships/image" Target="../media/image24.svg"/><Relationship Id="rId7" Type="http://schemas.openxmlformats.org/officeDocument/2006/relationships/image" Target="../media/image28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7.svg"/><Relationship Id="rId11" Type="http://schemas.openxmlformats.org/officeDocument/2006/relationships/image" Target="../media/image32.svg"/><Relationship Id="rId5" Type="http://schemas.openxmlformats.org/officeDocument/2006/relationships/image" Target="../media/image26.svg"/><Relationship Id="rId10" Type="http://schemas.openxmlformats.org/officeDocument/2006/relationships/image" Target="../media/image31.svg"/><Relationship Id="rId4" Type="http://schemas.openxmlformats.org/officeDocument/2006/relationships/image" Target="../media/image25.svg"/><Relationship Id="rId9" Type="http://schemas.openxmlformats.org/officeDocument/2006/relationships/image" Target="../media/image30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10" Type="http://schemas.openxmlformats.org/officeDocument/2006/relationships/image" Target="../media/image40.png"/><Relationship Id="rId4" Type="http://schemas.openxmlformats.org/officeDocument/2006/relationships/image" Target="../media/image34.png"/><Relationship Id="rId9" Type="http://schemas.openxmlformats.org/officeDocument/2006/relationships/image" Target="../media/image39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2586B2-9575-903A-3D7F-91253C62D79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/>
              <a:t>eHelse – hva skjer i kommunene?</a:t>
            </a:r>
            <a:endParaRPr lang="nb-NO" sz="2800" b="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A892CC5-57F0-80C0-695D-AC502CD7E1D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6535" y="5721634"/>
            <a:ext cx="1359114" cy="680440"/>
          </a:xfrm>
          <a:prstGeom prst="rect">
            <a:avLst/>
          </a:prstGeom>
        </p:spPr>
      </p:pic>
      <p:sp>
        <p:nvSpPr>
          <p:cNvPr id="6" name="Undertittel 5">
            <a:extLst>
              <a:ext uri="{FF2B5EF4-FFF2-40B4-BE49-F238E27FC236}">
                <a16:creationId xmlns:a16="http://schemas.microsoft.com/office/drawing/2014/main" id="{9BB509E0-0C7B-8D81-04C5-6ECEEFAA09B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64227" y="3417987"/>
            <a:ext cx="8534400" cy="516192"/>
          </a:xfrm>
        </p:spPr>
        <p:txBody>
          <a:bodyPr/>
          <a:lstStyle/>
          <a:p>
            <a:r>
              <a:rPr lang="nb-NO" dirty="0"/>
              <a:t>Terje Wistner, Avdelingsdirektør eHelse</a:t>
            </a:r>
          </a:p>
        </p:txBody>
      </p:sp>
    </p:spTree>
    <p:extLst>
      <p:ext uri="{BB962C8B-B14F-4D97-AF65-F5344CB8AC3E}">
        <p14:creationId xmlns:p14="http://schemas.microsoft.com/office/powerpoint/2010/main" val="40338680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21B7F7A-D22E-DBA2-2441-93B0E5910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3050"/>
            <a:ext cx="4586653" cy="1162050"/>
          </a:xfrm>
        </p:spPr>
        <p:txBody>
          <a:bodyPr anchor="b">
            <a:normAutofit/>
          </a:bodyPr>
          <a:lstStyle/>
          <a:p>
            <a:r>
              <a:rPr lang="nb-NO" sz="3200" b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Viktig med samarbeid -</a:t>
            </a:r>
            <a:br>
              <a:rPr lang="nb-NO" sz="3200" b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</a:br>
            <a:r>
              <a:rPr lang="nb-NO" sz="3200" b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Boen</a:t>
            </a:r>
            <a:r>
              <a:rPr lang="nb-NO" sz="3200" b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-erklæringen</a:t>
            </a:r>
          </a:p>
        </p:txBody>
      </p:sp>
      <p:pic>
        <p:nvPicPr>
          <p:cNvPr id="5" name="Bilde 4" descr="Et bilde som inneholder tekst, person, computer, Jobb&#10;&#10;KI-generert innhold kan være feil.">
            <a:extLst>
              <a:ext uri="{FF2B5EF4-FFF2-40B4-BE49-F238E27FC236}">
                <a16:creationId xmlns:a16="http://schemas.microsoft.com/office/drawing/2014/main" id="{992BA604-4F36-B525-BF6B-7959D8C625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77791" y="273051"/>
            <a:ext cx="5692151" cy="5853113"/>
          </a:xfrm>
          <a:prstGeom prst="rect">
            <a:avLst/>
          </a:prstGeom>
          <a:noFill/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A2A1769-5566-09D6-8AC1-72DEE40B0F1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09600" y="1435101"/>
            <a:ext cx="4953000" cy="5069066"/>
          </a:xfrm>
        </p:spPr>
        <p:txBody>
          <a:bodyPr>
            <a:noAutofit/>
          </a:bodyPr>
          <a:lstStyle/>
          <a:p>
            <a:r>
              <a:rPr lang="nb-NO" sz="1600" b="0" i="0" dirty="0">
                <a:solidFill>
                  <a:srgbClr val="2A2A2A"/>
                </a:solidFill>
                <a:effectLst/>
              </a:rPr>
              <a:t>Bergen, Bodø, Bærum, Hammerfest, Kristiansand, Oslo, Ringsaker, Stavanger og Vinje vil samarbeide med hverandre, med KS og andre kommuner for at våre anskaffelser kan bidra til å realisere målet beskrevet i planene for Felles kommunalt journalløft.</a:t>
            </a:r>
          </a:p>
          <a:p>
            <a:endParaRPr lang="nb-NO" sz="1600" dirty="0">
              <a:solidFill>
                <a:srgbClr val="2A2A2A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i="0" u="none" strike="noStrike" baseline="0" dirty="0">
                <a:solidFill>
                  <a:srgbClr val="000000"/>
                </a:solidFill>
              </a:rPr>
              <a:t>intuitive i bruk og bidra til effektive og sikre arbeidsprosess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>
                <a:solidFill>
                  <a:srgbClr val="000000"/>
                </a:solidFill>
              </a:rPr>
              <a:t>helseinformasjon deles i sanntid, mellom aktører og med innbygg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>
                <a:solidFill>
                  <a:srgbClr val="000000"/>
                </a:solidFill>
              </a:rPr>
              <a:t>nasjonale tjenester </a:t>
            </a:r>
            <a:r>
              <a:rPr lang="nb-NO" sz="1600" dirty="0" err="1">
                <a:solidFill>
                  <a:srgbClr val="000000"/>
                </a:solidFill>
              </a:rPr>
              <a:t>ink</a:t>
            </a:r>
            <a:r>
              <a:rPr lang="nb-NO" sz="1600" dirty="0">
                <a:solidFill>
                  <a:srgbClr val="000000"/>
                </a:solidFill>
              </a:rPr>
              <a:t> informasjonsdeling implementeres når de foreligger. </a:t>
            </a:r>
            <a:endParaRPr lang="nb-NO" sz="1600" b="0" i="0" u="none" strike="noStrike" baseline="0" dirty="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b="0" i="0" u="none" strike="noStrike" baseline="0" dirty="0">
                <a:solidFill>
                  <a:srgbClr val="000000"/>
                </a:solidFill>
              </a:rPr>
              <a:t>fri tilgang til egne data, også ved leverandørskift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b="0" i="0" u="none" strike="noStrike" baseline="0" dirty="0">
                <a:solidFill>
                  <a:srgbClr val="000000"/>
                </a:solidFill>
              </a:rPr>
              <a:t>legge til rette for videre innovasjon og utvikling og samspill med andre leverandører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>
                <a:solidFill>
                  <a:srgbClr val="000000"/>
                </a:solidFill>
              </a:rPr>
              <a:t>l</a:t>
            </a:r>
            <a:r>
              <a:rPr lang="nb-NO" sz="1600" b="0" i="0" u="none" strike="noStrike" baseline="0" dirty="0">
                <a:solidFill>
                  <a:srgbClr val="000000"/>
                </a:solidFill>
              </a:rPr>
              <a:t>egge kommunesektorens felles krav til prioriteringer til grunn i eget utviklingsarbeid</a:t>
            </a:r>
            <a:endParaRPr lang="nb-NO" sz="1600" b="1" dirty="0">
              <a:ea typeface="Calibri"/>
              <a:cs typeface="Calibri"/>
            </a:endParaRPr>
          </a:p>
          <a:p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9016831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AB9B80-7E03-59F4-1C37-57503065AA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CD57F01-F400-155F-4BF8-022C5E04C5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5057" y="1270656"/>
            <a:ext cx="2483111" cy="1253682"/>
          </a:xfrm>
        </p:spPr>
        <p:txBody>
          <a:bodyPr>
            <a:normAutofit fontScale="90000"/>
          </a:bodyPr>
          <a:lstStyle/>
          <a:p>
            <a:r>
              <a:rPr lang="nb-NO" b="1" dirty="0"/>
              <a:t>EPJ- anskaffelser Norge Rundt… </a:t>
            </a:r>
            <a:br>
              <a:rPr lang="nb-NO" b="1" dirty="0"/>
            </a:br>
            <a:r>
              <a:rPr lang="nb-NO" sz="1700" b="1" dirty="0"/>
              <a:t>(per april 2026)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521E3FE1-94B9-DF9F-5848-68DECD5EE433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3"/>
          <a:stretch>
            <a:fillRect/>
          </a:stretch>
        </p:blipFill>
        <p:spPr>
          <a:xfrm>
            <a:off x="4719848" y="605192"/>
            <a:ext cx="4565650" cy="5402263"/>
          </a:xfrm>
          <a:prstGeom prst="rect">
            <a:avLst/>
          </a:prstGeom>
        </p:spPr>
      </p:pic>
      <p:sp>
        <p:nvSpPr>
          <p:cNvPr id="3" name="TekstSylinder 2">
            <a:extLst>
              <a:ext uri="{FF2B5EF4-FFF2-40B4-BE49-F238E27FC236}">
                <a16:creationId xmlns:a16="http://schemas.microsoft.com/office/drawing/2014/main" id="{70562F07-5804-5BA9-7FA1-4E80B087BD93}"/>
              </a:ext>
            </a:extLst>
          </p:cNvPr>
          <p:cNvSpPr txBox="1"/>
          <p:nvPr/>
        </p:nvSpPr>
        <p:spPr>
          <a:xfrm>
            <a:off x="4668065" y="1144234"/>
            <a:ext cx="2872293" cy="707886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Hvem: </a:t>
            </a: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Bodø</a:t>
            </a: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 + 22 kommuner i Nordland og Trom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Prosedyre: Konkurransepreget dialo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Status: Ferdi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Nytt: Relasjonskontrakt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29F4032B-761E-271B-C456-771C0F439A3C}"/>
              </a:ext>
            </a:extLst>
          </p:cNvPr>
          <p:cNvSpPr txBox="1"/>
          <p:nvPr/>
        </p:nvSpPr>
        <p:spPr>
          <a:xfrm>
            <a:off x="2324861" y="5716347"/>
            <a:ext cx="2502372" cy="707886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nb-NO"/>
            </a:defPPr>
            <a:lvl1pPr marR="0" lvl="0" indent="0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Basis Grotesque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nb-NO" dirty="0">
                <a:solidFill>
                  <a:schemeClr val="tx1"/>
                </a:solidFill>
              </a:rPr>
              <a:t>Hvem: Stavanger + 27 kommuner i Rogaland</a:t>
            </a:r>
          </a:p>
          <a:p>
            <a:r>
              <a:rPr lang="nb-NO" dirty="0">
                <a:solidFill>
                  <a:schemeClr val="tx1"/>
                </a:solidFill>
              </a:rPr>
              <a:t>Prosedyre: Konkurranse med forhandling</a:t>
            </a:r>
          </a:p>
          <a:p>
            <a:r>
              <a:rPr lang="nb-NO" dirty="0">
                <a:solidFill>
                  <a:schemeClr val="tx1"/>
                </a:solidFill>
              </a:rPr>
              <a:t>Status: I forhandlinger</a:t>
            </a:r>
          </a:p>
          <a:p>
            <a:r>
              <a:rPr lang="nb-NO" dirty="0">
                <a:solidFill>
                  <a:schemeClr val="tx1"/>
                </a:solidFill>
              </a:rPr>
              <a:t>Nytt: Value Engineering</a:t>
            </a: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FCFA5C92-3BE8-87B3-2027-E858A45E2F5B}"/>
              </a:ext>
            </a:extLst>
          </p:cNvPr>
          <p:cNvSpPr txBox="1"/>
          <p:nvPr/>
        </p:nvSpPr>
        <p:spPr>
          <a:xfrm>
            <a:off x="6317119" y="4093152"/>
            <a:ext cx="2380890" cy="553998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Hvem: </a:t>
            </a: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Innlandet – 43 kommuner </a:t>
            </a:r>
            <a:endParaRPr kumimoji="0" lang="nb-NO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asis Grotesqu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Prosedyre: Konkurransepreget dialo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Status: </a:t>
            </a:r>
            <a:r>
              <a:rPr lang="nb-NO" sz="1000" dirty="0">
                <a:solidFill>
                  <a:prstClr val="black"/>
                </a:solidFill>
                <a:latin typeface="Basis Grotesque"/>
              </a:rPr>
              <a:t>Ferdig</a:t>
            </a:r>
            <a:endParaRPr kumimoji="0" lang="nb-NO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asis Grotesque"/>
              <a:ea typeface="+mn-ea"/>
              <a:cs typeface="+mn-cs"/>
            </a:endParaRP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ACA5DD24-9B94-4805-E887-D680901DEB5C}"/>
              </a:ext>
            </a:extLst>
          </p:cNvPr>
          <p:cNvSpPr txBox="1"/>
          <p:nvPr/>
        </p:nvSpPr>
        <p:spPr>
          <a:xfrm>
            <a:off x="6716869" y="3416669"/>
            <a:ext cx="2582177" cy="553998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Hvem: </a:t>
            </a:r>
            <a:r>
              <a:rPr kumimoji="0" lang="nb-NO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Værnesregionen</a:t>
            </a: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 </a:t>
            </a:r>
            <a:r>
              <a:rPr kumimoji="0" lang="nb-NO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m.fl</a:t>
            </a: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 – 22 kommuner </a:t>
            </a:r>
            <a:endParaRPr kumimoji="0" lang="nb-NO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asis Grotesqu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Prosedyre: Konkurranse med forhandl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Status: </a:t>
            </a:r>
            <a:r>
              <a:rPr lang="nb-NO" sz="1000" dirty="0">
                <a:solidFill>
                  <a:prstClr val="black"/>
                </a:solidFill>
                <a:latin typeface="Basis Grotesque"/>
              </a:rPr>
              <a:t>Ferdig</a:t>
            </a:r>
            <a:endParaRPr kumimoji="0" lang="nb-NO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asis Grotesque"/>
              <a:ea typeface="+mn-ea"/>
              <a:cs typeface="+mn-cs"/>
            </a:endParaRP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F5EBC6BA-2134-CB35-3F53-C1F1E0EB01B1}"/>
              </a:ext>
            </a:extLst>
          </p:cNvPr>
          <p:cNvSpPr txBox="1"/>
          <p:nvPr/>
        </p:nvSpPr>
        <p:spPr>
          <a:xfrm>
            <a:off x="5067015" y="5670577"/>
            <a:ext cx="2582177" cy="553998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Hvem: </a:t>
            </a: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Telemark og Vestfold - 19 kommuner</a:t>
            </a:r>
            <a:endParaRPr kumimoji="0" lang="nb-NO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asis Grotesqu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Prosedyre: Konkurranse med forhandling Status: Ferdig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8FC23960-9F45-F9B1-89E4-CC24A34A632F}"/>
              </a:ext>
            </a:extLst>
          </p:cNvPr>
          <p:cNvSpPr txBox="1"/>
          <p:nvPr/>
        </p:nvSpPr>
        <p:spPr>
          <a:xfrm>
            <a:off x="3009079" y="4120625"/>
            <a:ext cx="2308691" cy="55399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Hvem: </a:t>
            </a:r>
            <a:r>
              <a:rPr kumimoji="0" lang="nb-NO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Ulvik og Eidfjord</a:t>
            </a:r>
            <a:endParaRPr kumimoji="0" lang="nb-NO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asis Grotesqu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Prosedyre: Konkurranse med forhandling Status: I forhandlinger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28FAF84E-EE83-55DA-E4E1-5100D2B99C4B}"/>
              </a:ext>
            </a:extLst>
          </p:cNvPr>
          <p:cNvSpPr txBox="1"/>
          <p:nvPr/>
        </p:nvSpPr>
        <p:spPr>
          <a:xfrm>
            <a:off x="2931550" y="4635441"/>
            <a:ext cx="1841178" cy="553998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Hvem: </a:t>
            </a:r>
            <a:r>
              <a:rPr kumimoji="0" lang="nb-NO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Voss </a:t>
            </a:r>
            <a:endParaRPr kumimoji="0" lang="nb-NO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asis Grotesqu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Prosedyre: Konkurranse med forhandling Status: Ferdig</a:t>
            </a:r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3FC83222-A491-EA69-6B50-825D7B355749}"/>
              </a:ext>
            </a:extLst>
          </p:cNvPr>
          <p:cNvSpPr txBox="1"/>
          <p:nvPr/>
        </p:nvSpPr>
        <p:spPr>
          <a:xfrm>
            <a:off x="99688" y="5507661"/>
            <a:ext cx="2314247" cy="553998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Hvem: </a:t>
            </a: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Øygarden</a:t>
            </a:r>
            <a:endParaRPr kumimoji="0" lang="nb-NO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Basis Grotesqu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Prosedyre: Konkurranse med forhandling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Status: </a:t>
            </a:r>
            <a:r>
              <a:rPr lang="nb-NO" sz="1000" dirty="0">
                <a:solidFill>
                  <a:schemeClr val="tx1"/>
                </a:solidFill>
                <a:latin typeface="Basis Grotesque"/>
              </a:rPr>
              <a:t>Ferdig</a:t>
            </a:r>
            <a:endParaRPr kumimoji="0" lang="nb-NO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Basis Grotesque"/>
              <a:ea typeface="+mn-ea"/>
              <a:cs typeface="+mn-cs"/>
            </a:endParaRPr>
          </a:p>
        </p:txBody>
      </p:sp>
      <p:sp>
        <p:nvSpPr>
          <p:cNvPr id="15" name="TekstSylinder 14">
            <a:extLst>
              <a:ext uri="{FF2B5EF4-FFF2-40B4-BE49-F238E27FC236}">
                <a16:creationId xmlns:a16="http://schemas.microsoft.com/office/drawing/2014/main" id="{383A33DE-AC77-308B-2F9E-5A52EF47B21F}"/>
              </a:ext>
            </a:extLst>
          </p:cNvPr>
          <p:cNvSpPr txBox="1"/>
          <p:nvPr/>
        </p:nvSpPr>
        <p:spPr>
          <a:xfrm>
            <a:off x="2756667" y="5154121"/>
            <a:ext cx="2582176" cy="55399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Hvem: </a:t>
            </a:r>
            <a:r>
              <a:rPr kumimoji="0" lang="nb-NO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Bergensregionen </a:t>
            </a: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 8 kommun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Prosedyre: Konkurransepreget dialo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Status: I forhandlinger</a:t>
            </a:r>
          </a:p>
        </p:txBody>
      </p:sp>
      <p:sp>
        <p:nvSpPr>
          <p:cNvPr id="16" name="TekstSylinder 15">
            <a:extLst>
              <a:ext uri="{FF2B5EF4-FFF2-40B4-BE49-F238E27FC236}">
                <a16:creationId xmlns:a16="http://schemas.microsoft.com/office/drawing/2014/main" id="{53AD1D55-E949-D5AB-6DB1-4C57EBDC09EE}"/>
              </a:ext>
            </a:extLst>
          </p:cNvPr>
          <p:cNvSpPr txBox="1"/>
          <p:nvPr/>
        </p:nvSpPr>
        <p:spPr>
          <a:xfrm>
            <a:off x="7581614" y="5214919"/>
            <a:ext cx="3065563" cy="55399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Hvem: </a:t>
            </a: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Romerike </a:t>
            </a:r>
            <a:r>
              <a:rPr kumimoji="0" lang="nb-NO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m.fl</a:t>
            </a: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, 19 kommuner </a:t>
            </a:r>
            <a:endParaRPr kumimoji="0" lang="nb-NO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asis Grotesqu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Prosedyre: Konkurransepreget dialo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Status: </a:t>
            </a:r>
            <a:r>
              <a:rPr lang="nb-NO" sz="1000" dirty="0">
                <a:solidFill>
                  <a:prstClr val="black"/>
                </a:solidFill>
                <a:latin typeface="Basis Grotesque"/>
              </a:rPr>
              <a:t>pågår</a:t>
            </a:r>
            <a:endParaRPr kumimoji="0" lang="nb-NO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asis Grotesque"/>
              <a:ea typeface="+mn-ea"/>
              <a:cs typeface="+mn-cs"/>
            </a:endParaRPr>
          </a:p>
        </p:txBody>
      </p:sp>
      <p:sp>
        <p:nvSpPr>
          <p:cNvPr id="17" name="TekstSylinder 16">
            <a:extLst>
              <a:ext uri="{FF2B5EF4-FFF2-40B4-BE49-F238E27FC236}">
                <a16:creationId xmlns:a16="http://schemas.microsoft.com/office/drawing/2014/main" id="{8336C8A0-146F-1E03-FC53-87489400494A}"/>
              </a:ext>
            </a:extLst>
          </p:cNvPr>
          <p:cNvSpPr txBox="1"/>
          <p:nvPr/>
        </p:nvSpPr>
        <p:spPr>
          <a:xfrm>
            <a:off x="122118" y="3775934"/>
            <a:ext cx="2965114" cy="55399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Hvem: </a:t>
            </a: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Sunnfjord og Ytre Sogn IKT – </a:t>
            </a: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13 kommun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Prosedyre: Konkurranse med forhandl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Status: I forhandlinger</a:t>
            </a:r>
          </a:p>
        </p:txBody>
      </p:sp>
      <p:sp>
        <p:nvSpPr>
          <p:cNvPr id="18" name="TekstSylinder 17">
            <a:extLst>
              <a:ext uri="{FF2B5EF4-FFF2-40B4-BE49-F238E27FC236}">
                <a16:creationId xmlns:a16="http://schemas.microsoft.com/office/drawing/2014/main" id="{034686DD-A2F9-2CFE-C221-7AADAF0DC950}"/>
              </a:ext>
            </a:extLst>
          </p:cNvPr>
          <p:cNvSpPr txBox="1"/>
          <p:nvPr/>
        </p:nvSpPr>
        <p:spPr>
          <a:xfrm>
            <a:off x="6497446" y="4682208"/>
            <a:ext cx="3771022" cy="55399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Hvem: Regionene </a:t>
            </a: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Kongsberg og </a:t>
            </a:r>
            <a:r>
              <a:rPr kumimoji="0" lang="nb-NO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Hallingdalen</a:t>
            </a: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 ++ </a:t>
            </a: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(i alt 20 kommuner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Prosedyre: Konkurranse med forhandl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Status: I forhandlinger</a:t>
            </a:r>
          </a:p>
        </p:txBody>
      </p:sp>
      <p:sp>
        <p:nvSpPr>
          <p:cNvPr id="19" name="TekstSylinder 18">
            <a:extLst>
              <a:ext uri="{FF2B5EF4-FFF2-40B4-BE49-F238E27FC236}">
                <a16:creationId xmlns:a16="http://schemas.microsoft.com/office/drawing/2014/main" id="{98164B5F-E861-2724-ED77-67840B2A7C44}"/>
              </a:ext>
            </a:extLst>
          </p:cNvPr>
          <p:cNvSpPr txBox="1"/>
          <p:nvPr/>
        </p:nvSpPr>
        <p:spPr>
          <a:xfrm>
            <a:off x="7439184" y="5785376"/>
            <a:ext cx="2839083" cy="55399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Hvem: </a:t>
            </a: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Oslo</a:t>
            </a: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Status: Konkurranse  med forhandling legevak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Status: pågår, Forbereder også PLO</a:t>
            </a:r>
          </a:p>
        </p:txBody>
      </p:sp>
      <p:sp>
        <p:nvSpPr>
          <p:cNvPr id="20" name="TekstSylinder 19">
            <a:extLst>
              <a:ext uri="{FF2B5EF4-FFF2-40B4-BE49-F238E27FC236}">
                <a16:creationId xmlns:a16="http://schemas.microsoft.com/office/drawing/2014/main" id="{A2E73E43-1653-FE96-3AC8-C94FE6BE79BD}"/>
              </a:ext>
            </a:extLst>
          </p:cNvPr>
          <p:cNvSpPr txBox="1"/>
          <p:nvPr/>
        </p:nvSpPr>
        <p:spPr>
          <a:xfrm>
            <a:off x="3705124" y="6216551"/>
            <a:ext cx="2851473" cy="55399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Hvem: </a:t>
            </a: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Fellesprosess på Agder (25 kommuner)</a:t>
            </a:r>
            <a:endParaRPr kumimoji="0" lang="nb-NO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asis Grotesqu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Prosedyre: Konkurranse med forhandl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Status: I konkurranse</a:t>
            </a:r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E57FE797-C409-523C-3A7C-627426FA097D}"/>
              </a:ext>
            </a:extLst>
          </p:cNvPr>
          <p:cNvSpPr txBox="1"/>
          <p:nvPr/>
        </p:nvSpPr>
        <p:spPr>
          <a:xfrm>
            <a:off x="6159741" y="5270481"/>
            <a:ext cx="1361592" cy="40011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Hvem: </a:t>
            </a: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Bærum</a:t>
            </a: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Status: Markedsdialog </a:t>
            </a:r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F8758171-630B-C3BE-395C-2A6C7F3D68BD}"/>
              </a:ext>
            </a:extLst>
          </p:cNvPr>
          <p:cNvSpPr txBox="1"/>
          <p:nvPr/>
        </p:nvSpPr>
        <p:spPr>
          <a:xfrm>
            <a:off x="1412324" y="4444949"/>
            <a:ext cx="1582156" cy="553998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Hvem: </a:t>
            </a: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Ullensva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Prosedyre: </a:t>
            </a: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Åpent anbu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Status: Ferdig </a:t>
            </a:r>
          </a:p>
        </p:txBody>
      </p:sp>
      <p:sp>
        <p:nvSpPr>
          <p:cNvPr id="21" name="TekstSylinder 20">
            <a:extLst>
              <a:ext uri="{FF2B5EF4-FFF2-40B4-BE49-F238E27FC236}">
                <a16:creationId xmlns:a16="http://schemas.microsoft.com/office/drawing/2014/main" id="{49137408-EBAF-24CB-562B-0C5C2353D8C3}"/>
              </a:ext>
            </a:extLst>
          </p:cNvPr>
          <p:cNvSpPr txBox="1"/>
          <p:nvPr/>
        </p:nvSpPr>
        <p:spPr>
          <a:xfrm>
            <a:off x="5040762" y="1914902"/>
            <a:ext cx="1726147" cy="553998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Hvem: </a:t>
            </a:r>
            <a:r>
              <a:rPr kumimoji="0" lang="nb-NO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Hadsel </a:t>
            </a: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+ 4 kommun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Prosedyre</a:t>
            </a:r>
            <a:r>
              <a:rPr kumimoji="0" lang="nb-NO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: </a:t>
            </a: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Begrenset anbu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Status: Ferdig </a:t>
            </a:r>
          </a:p>
        </p:txBody>
      </p:sp>
      <p:sp>
        <p:nvSpPr>
          <p:cNvPr id="22" name="TekstSylinder 21">
            <a:extLst>
              <a:ext uri="{FF2B5EF4-FFF2-40B4-BE49-F238E27FC236}">
                <a16:creationId xmlns:a16="http://schemas.microsoft.com/office/drawing/2014/main" id="{14ACD8A1-35A6-8457-E028-5A3B60BD2071}"/>
              </a:ext>
            </a:extLst>
          </p:cNvPr>
          <p:cNvSpPr txBox="1"/>
          <p:nvPr/>
        </p:nvSpPr>
        <p:spPr>
          <a:xfrm>
            <a:off x="7178362" y="1970339"/>
            <a:ext cx="2345468" cy="553998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Hvem: </a:t>
            </a:r>
            <a:r>
              <a:rPr kumimoji="0" lang="nb-NO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Lofoten IKT, </a:t>
            </a: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5 kommuner</a:t>
            </a:r>
            <a:endParaRPr kumimoji="0" lang="nb-NO" sz="1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asis Grotesqu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Prosedyre</a:t>
            </a:r>
            <a:r>
              <a:rPr kumimoji="0" lang="nb-NO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: </a:t>
            </a: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Konkurranse med forhandl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Status: Ferdig </a:t>
            </a:r>
          </a:p>
        </p:txBody>
      </p:sp>
      <p:sp>
        <p:nvSpPr>
          <p:cNvPr id="24" name="TekstSylinder 8">
            <a:extLst>
              <a:ext uri="{FF2B5EF4-FFF2-40B4-BE49-F238E27FC236}">
                <a16:creationId xmlns:a16="http://schemas.microsoft.com/office/drawing/2014/main" id="{D7E2E1AF-3504-806F-1E5B-ACF4B8AC9F7C}"/>
              </a:ext>
            </a:extLst>
          </p:cNvPr>
          <p:cNvSpPr txBox="1"/>
          <p:nvPr/>
        </p:nvSpPr>
        <p:spPr>
          <a:xfrm>
            <a:off x="3795710" y="2490439"/>
            <a:ext cx="2308691" cy="40011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Hvem: </a:t>
            </a: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Helgeland</a:t>
            </a: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, 18 kommuner</a:t>
            </a:r>
            <a:endParaRPr kumimoji="0" lang="nb-NO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asis Grotesqu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Status:</a:t>
            </a:r>
            <a:r>
              <a:rPr lang="nb-NO" sz="1000" dirty="0">
                <a:solidFill>
                  <a:prstClr val="black"/>
                </a:solidFill>
                <a:latin typeface="Basis Grotesque"/>
              </a:rPr>
              <a:t> Siste f</a:t>
            </a:r>
            <a:r>
              <a:rPr kumimoji="0" lang="nb-NO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orberedelser</a:t>
            </a:r>
            <a:endParaRPr kumimoji="0" lang="nb-NO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asis Grotesque"/>
              <a:ea typeface="+mn-ea"/>
              <a:cs typeface="+mn-cs"/>
            </a:endParaRPr>
          </a:p>
        </p:txBody>
      </p:sp>
      <p:sp>
        <p:nvSpPr>
          <p:cNvPr id="25" name="TekstSylinder 24">
            <a:extLst>
              <a:ext uri="{FF2B5EF4-FFF2-40B4-BE49-F238E27FC236}">
                <a16:creationId xmlns:a16="http://schemas.microsoft.com/office/drawing/2014/main" id="{A7549D16-6478-CF96-4107-3D5CC2556609}"/>
              </a:ext>
            </a:extLst>
          </p:cNvPr>
          <p:cNvSpPr txBox="1"/>
          <p:nvPr/>
        </p:nvSpPr>
        <p:spPr>
          <a:xfrm>
            <a:off x="3358168" y="3241138"/>
            <a:ext cx="3169547" cy="553998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Hvem: </a:t>
            </a:r>
            <a:r>
              <a:rPr kumimoji="0" lang="nb-NO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Helseplattformen i Midt-Norge, </a:t>
            </a: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34 kommuner</a:t>
            </a:r>
            <a:endParaRPr kumimoji="0" lang="nb-NO" sz="1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asis Grotesqu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Prosedyre</a:t>
            </a:r>
            <a:r>
              <a:rPr kumimoji="0" lang="nb-NO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: </a:t>
            </a: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Konkurransepreget dialo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Status: Ferdig </a:t>
            </a:r>
          </a:p>
        </p:txBody>
      </p:sp>
      <p:sp>
        <p:nvSpPr>
          <p:cNvPr id="29" name="TekstSylinder 28">
            <a:extLst>
              <a:ext uri="{FF2B5EF4-FFF2-40B4-BE49-F238E27FC236}">
                <a16:creationId xmlns:a16="http://schemas.microsoft.com/office/drawing/2014/main" id="{1AB335C2-6777-37C4-DA79-A9B41BA1C16F}"/>
              </a:ext>
            </a:extLst>
          </p:cNvPr>
          <p:cNvSpPr txBox="1"/>
          <p:nvPr/>
        </p:nvSpPr>
        <p:spPr>
          <a:xfrm>
            <a:off x="9182539" y="605192"/>
            <a:ext cx="2372710" cy="553998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Hvem: </a:t>
            </a: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Sør-Varang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Prosedyre</a:t>
            </a: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: </a:t>
            </a: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Konkurranse med forhandl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Status: Ferdig</a:t>
            </a:r>
          </a:p>
        </p:txBody>
      </p:sp>
      <p:sp>
        <p:nvSpPr>
          <p:cNvPr id="30" name="TekstSylinder 29">
            <a:extLst>
              <a:ext uri="{FF2B5EF4-FFF2-40B4-BE49-F238E27FC236}">
                <a16:creationId xmlns:a16="http://schemas.microsoft.com/office/drawing/2014/main" id="{28441F13-4058-E4D9-5457-7A2E029280AD}"/>
              </a:ext>
            </a:extLst>
          </p:cNvPr>
          <p:cNvSpPr txBox="1"/>
          <p:nvPr/>
        </p:nvSpPr>
        <p:spPr>
          <a:xfrm>
            <a:off x="398078" y="4948283"/>
            <a:ext cx="2433795" cy="55399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nb-NO"/>
            </a:defPPr>
            <a:lvl1pPr marR="0" lvl="0" indent="0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nb-NO" dirty="0"/>
              <a:t>Hvem: IKT Nord- Hordaland  15 kommuner</a:t>
            </a:r>
          </a:p>
          <a:p>
            <a:r>
              <a:rPr lang="nb-NO" dirty="0"/>
              <a:t>Prosedyre: Konkurranse med forhandling</a:t>
            </a:r>
          </a:p>
          <a:p>
            <a:r>
              <a:rPr lang="nb-NO" dirty="0"/>
              <a:t>Status: Ferdig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6900C45B-857C-245E-001C-BC4C23B8D8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37887" y="5565866"/>
            <a:ext cx="1219222" cy="558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kstSylinder 22">
            <a:extLst>
              <a:ext uri="{FF2B5EF4-FFF2-40B4-BE49-F238E27FC236}">
                <a16:creationId xmlns:a16="http://schemas.microsoft.com/office/drawing/2014/main" id="{66899F5A-F944-B68B-3FE7-E66CA3D1B9CD}"/>
              </a:ext>
            </a:extLst>
          </p:cNvPr>
          <p:cNvSpPr txBox="1"/>
          <p:nvPr/>
        </p:nvSpPr>
        <p:spPr>
          <a:xfrm>
            <a:off x="6500140" y="6341519"/>
            <a:ext cx="2129029" cy="40011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Hvem: </a:t>
            </a: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Asker og Dramme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Status: </a:t>
            </a:r>
            <a:r>
              <a:rPr kumimoji="0" lang="nb-NO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Initielt</a:t>
            </a:r>
            <a:endParaRPr kumimoji="0" lang="nb-NO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asis Grotesque"/>
              <a:ea typeface="+mn-ea"/>
              <a:cs typeface="+mn-cs"/>
            </a:endParaRPr>
          </a:p>
        </p:txBody>
      </p:sp>
      <p:sp>
        <p:nvSpPr>
          <p:cNvPr id="26" name="TekstSylinder 25">
            <a:extLst>
              <a:ext uri="{FF2B5EF4-FFF2-40B4-BE49-F238E27FC236}">
                <a16:creationId xmlns:a16="http://schemas.microsoft.com/office/drawing/2014/main" id="{CE61241E-F71B-8060-AA86-F4DCF95D03FE}"/>
              </a:ext>
            </a:extLst>
          </p:cNvPr>
          <p:cNvSpPr txBox="1"/>
          <p:nvPr/>
        </p:nvSpPr>
        <p:spPr>
          <a:xfrm>
            <a:off x="8700796" y="6384191"/>
            <a:ext cx="2521238" cy="40011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Hvem: </a:t>
            </a: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Østfoldsamarbeidet </a:t>
            </a:r>
            <a:r>
              <a:rPr kumimoji="0" lang="nb-NO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(12 kommuner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Status: </a:t>
            </a:r>
            <a:r>
              <a:rPr lang="nb-NO" sz="1000" dirty="0" err="1">
                <a:solidFill>
                  <a:prstClr val="black"/>
                </a:solidFill>
                <a:latin typeface="Basis Grotesque"/>
              </a:rPr>
              <a:t>Initielt</a:t>
            </a:r>
            <a:endParaRPr kumimoji="0" lang="nb-NO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asis Grotesque"/>
              <a:ea typeface="+mn-ea"/>
              <a:cs typeface="+mn-cs"/>
            </a:endParaRPr>
          </a:p>
        </p:txBody>
      </p:sp>
      <p:sp>
        <p:nvSpPr>
          <p:cNvPr id="27" name="TekstSylinder 8">
            <a:extLst>
              <a:ext uri="{FF2B5EF4-FFF2-40B4-BE49-F238E27FC236}">
                <a16:creationId xmlns:a16="http://schemas.microsoft.com/office/drawing/2014/main" id="{93973D20-DD89-BF6D-C622-275A8DE06548}"/>
              </a:ext>
            </a:extLst>
          </p:cNvPr>
          <p:cNvSpPr txBox="1"/>
          <p:nvPr/>
        </p:nvSpPr>
        <p:spPr>
          <a:xfrm>
            <a:off x="6133526" y="329407"/>
            <a:ext cx="2308691" cy="55399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Hvem: </a:t>
            </a:r>
            <a:r>
              <a:rPr lang="nb-NO" sz="1000" b="1" dirty="0">
                <a:solidFill>
                  <a:prstClr val="black"/>
                </a:solidFill>
                <a:latin typeface="Basis Grotesque"/>
              </a:rPr>
              <a:t>Alta </a:t>
            </a:r>
            <a:r>
              <a:rPr lang="nb-NO" sz="1000" dirty="0">
                <a:solidFill>
                  <a:prstClr val="black"/>
                </a:solidFill>
                <a:latin typeface="Basis Grotesque"/>
              </a:rPr>
              <a:t>(med kommuner i Finnmark, Troms og Nordland), 27 kommuner</a:t>
            </a:r>
            <a:endParaRPr kumimoji="0" lang="nb-NO" sz="10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asis Grotesqu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Status: </a:t>
            </a:r>
            <a:r>
              <a:rPr kumimoji="0" lang="nb-NO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Initielt</a:t>
            </a:r>
            <a:endParaRPr kumimoji="0" lang="nb-NO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asis Grotesque"/>
              <a:ea typeface="+mn-ea"/>
              <a:cs typeface="+mn-cs"/>
            </a:endParaRPr>
          </a:p>
        </p:txBody>
      </p:sp>
      <p:sp>
        <p:nvSpPr>
          <p:cNvPr id="28" name="TekstSylinder 27">
            <a:extLst>
              <a:ext uri="{FF2B5EF4-FFF2-40B4-BE49-F238E27FC236}">
                <a16:creationId xmlns:a16="http://schemas.microsoft.com/office/drawing/2014/main" id="{A5F62B82-F352-2213-C297-BA51102D415A}"/>
              </a:ext>
            </a:extLst>
          </p:cNvPr>
          <p:cNvSpPr txBox="1"/>
          <p:nvPr/>
        </p:nvSpPr>
        <p:spPr>
          <a:xfrm>
            <a:off x="3987884" y="1863293"/>
            <a:ext cx="1053374" cy="400110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Hvem: </a:t>
            </a: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Beiar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Status: Ferdig 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CED8270-139E-425F-649A-347C32A1D7DD}"/>
              </a:ext>
            </a:extLst>
          </p:cNvPr>
          <p:cNvSpPr txBox="1"/>
          <p:nvPr/>
        </p:nvSpPr>
        <p:spPr>
          <a:xfrm>
            <a:off x="8830060" y="4031943"/>
            <a:ext cx="1015458" cy="400110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Hvem: </a:t>
            </a: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Sør-Fron</a:t>
            </a:r>
            <a:endParaRPr kumimoji="0" lang="nb-NO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asis Grotesqu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Status: </a:t>
            </a:r>
            <a:r>
              <a:rPr lang="nb-NO" sz="1000" dirty="0">
                <a:solidFill>
                  <a:prstClr val="black"/>
                </a:solidFill>
                <a:latin typeface="Basis Grotesque"/>
              </a:rPr>
              <a:t>Ferdig</a:t>
            </a:r>
            <a:endParaRPr kumimoji="0" lang="nb-NO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asis Grotesque"/>
              <a:ea typeface="+mn-ea"/>
              <a:cs typeface="+mn-cs"/>
            </a:endParaRPr>
          </a:p>
        </p:txBody>
      </p:sp>
      <p:sp>
        <p:nvSpPr>
          <p:cNvPr id="1028" name="TekstSylinder 1027">
            <a:extLst>
              <a:ext uri="{FF2B5EF4-FFF2-40B4-BE49-F238E27FC236}">
                <a16:creationId xmlns:a16="http://schemas.microsoft.com/office/drawing/2014/main" id="{B9DE8E12-AD59-A671-F89F-4662C86FB2DA}"/>
              </a:ext>
            </a:extLst>
          </p:cNvPr>
          <p:cNvSpPr txBox="1"/>
          <p:nvPr/>
        </p:nvSpPr>
        <p:spPr>
          <a:xfrm>
            <a:off x="2962937" y="3204260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asis Grotesque"/>
              <a:ea typeface="+mn-ea"/>
              <a:cs typeface="+mn-cs"/>
            </a:endParaRPr>
          </a:p>
        </p:txBody>
      </p:sp>
      <p:sp>
        <p:nvSpPr>
          <p:cNvPr id="1029" name="TekstSylinder 1028">
            <a:extLst>
              <a:ext uri="{FF2B5EF4-FFF2-40B4-BE49-F238E27FC236}">
                <a16:creationId xmlns:a16="http://schemas.microsoft.com/office/drawing/2014/main" id="{CF35ADA5-6CF5-19BC-FC3A-4D4D5FC5C135}"/>
              </a:ext>
            </a:extLst>
          </p:cNvPr>
          <p:cNvSpPr txBox="1"/>
          <p:nvPr/>
        </p:nvSpPr>
        <p:spPr>
          <a:xfrm>
            <a:off x="141281" y="4528525"/>
            <a:ext cx="1219222" cy="400110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Hvem: Utsir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sis Grotesque"/>
                <a:ea typeface="+mn-ea"/>
                <a:cs typeface="+mn-cs"/>
              </a:rPr>
              <a:t>Status: Ferdig </a:t>
            </a:r>
          </a:p>
        </p:txBody>
      </p:sp>
    </p:spTree>
    <p:extLst>
      <p:ext uri="{BB962C8B-B14F-4D97-AF65-F5344CB8AC3E}">
        <p14:creationId xmlns:p14="http://schemas.microsoft.com/office/powerpoint/2010/main" val="32412547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EB8BCB-EA43-5576-7FDE-4999ED753B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32FBB64-E7B4-8972-69FA-5A14966E3A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55303"/>
            <a:ext cx="10972800" cy="1132114"/>
          </a:xfrm>
        </p:spPr>
        <p:txBody>
          <a:bodyPr/>
          <a:lstStyle/>
          <a:p>
            <a:r>
              <a:rPr lang="nb-NO" dirty="0"/>
              <a:t>Videreutvikling av modell for anskaffelser</a:t>
            </a:r>
          </a:p>
        </p:txBody>
      </p:sp>
      <p:pic>
        <p:nvPicPr>
          <p:cNvPr id="4" name="Picture 80">
            <a:extLst>
              <a:ext uri="{FF2B5EF4-FFF2-40B4-BE49-F238E27FC236}">
                <a16:creationId xmlns:a16="http://schemas.microsoft.com/office/drawing/2014/main" id="{15176C32-C99D-44F9-171D-F03424C16B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05241" y="1225743"/>
            <a:ext cx="9299540" cy="221460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Rektangel: avrundede hjørner 4">
            <a:extLst>
              <a:ext uri="{FF2B5EF4-FFF2-40B4-BE49-F238E27FC236}">
                <a16:creationId xmlns:a16="http://schemas.microsoft.com/office/drawing/2014/main" id="{9D782CF2-C7EC-E69F-9756-CF8ACBAE5C33}"/>
              </a:ext>
            </a:extLst>
          </p:cNvPr>
          <p:cNvSpPr/>
          <p:nvPr/>
        </p:nvSpPr>
        <p:spPr>
          <a:xfrm>
            <a:off x="1488141" y="3722621"/>
            <a:ext cx="2783850" cy="579637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>
                <a:solidFill>
                  <a:schemeClr val="bg1"/>
                </a:solidFill>
              </a:rPr>
              <a:t>Anskaffelser.no</a:t>
            </a:r>
          </a:p>
          <a:p>
            <a:pPr algn="ctr"/>
            <a:r>
              <a:rPr lang="nb-NO" dirty="0">
                <a:solidFill>
                  <a:schemeClr val="bg1"/>
                </a:solidFill>
              </a:rPr>
              <a:t>Kvikk-guide</a:t>
            </a:r>
          </a:p>
        </p:txBody>
      </p:sp>
      <p:sp>
        <p:nvSpPr>
          <p:cNvPr id="6" name="Rektangel: avrundede hjørner 5">
            <a:extLst>
              <a:ext uri="{FF2B5EF4-FFF2-40B4-BE49-F238E27FC236}">
                <a16:creationId xmlns:a16="http://schemas.microsoft.com/office/drawing/2014/main" id="{C2965F0B-1619-75D1-872C-6E4B4E74ABD2}"/>
              </a:ext>
            </a:extLst>
          </p:cNvPr>
          <p:cNvSpPr/>
          <p:nvPr/>
        </p:nvSpPr>
        <p:spPr>
          <a:xfrm>
            <a:off x="1488140" y="4398510"/>
            <a:ext cx="9152965" cy="484611"/>
          </a:xfrm>
          <a:prstGeom prst="roundRect">
            <a:avLst/>
          </a:prstGeom>
          <a:solidFill>
            <a:schemeClr val="accent3"/>
          </a:solidFill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>
                <a:solidFill>
                  <a:schemeClr val="bg1"/>
                </a:solidFill>
              </a:rPr>
              <a:t>Felles rammer og anbefalinger</a:t>
            </a:r>
          </a:p>
        </p:txBody>
      </p:sp>
      <p:sp>
        <p:nvSpPr>
          <p:cNvPr id="7" name="Rektangel: avrundede hjørner 6">
            <a:extLst>
              <a:ext uri="{FF2B5EF4-FFF2-40B4-BE49-F238E27FC236}">
                <a16:creationId xmlns:a16="http://schemas.microsoft.com/office/drawing/2014/main" id="{8D1133E6-68A4-5F32-0437-497F858EC25E}"/>
              </a:ext>
            </a:extLst>
          </p:cNvPr>
          <p:cNvSpPr/>
          <p:nvPr/>
        </p:nvSpPr>
        <p:spPr>
          <a:xfrm>
            <a:off x="4387517" y="3722621"/>
            <a:ext cx="6253588" cy="579637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>
                <a:solidFill>
                  <a:schemeClr val="bg1"/>
                </a:solidFill>
              </a:rPr>
              <a:t>Helhetlig tjenestemodell</a:t>
            </a:r>
          </a:p>
        </p:txBody>
      </p:sp>
      <p:sp>
        <p:nvSpPr>
          <p:cNvPr id="3" name="Rektangel: avrundede hjørner 2">
            <a:extLst>
              <a:ext uri="{FF2B5EF4-FFF2-40B4-BE49-F238E27FC236}">
                <a16:creationId xmlns:a16="http://schemas.microsoft.com/office/drawing/2014/main" id="{6F7720EC-73D2-D32F-290B-767F376473C0}"/>
              </a:ext>
            </a:extLst>
          </p:cNvPr>
          <p:cNvSpPr/>
          <p:nvPr/>
        </p:nvSpPr>
        <p:spPr>
          <a:xfrm>
            <a:off x="1488141" y="5049160"/>
            <a:ext cx="9152965" cy="439270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Felles og samlet leverandørdialog</a:t>
            </a:r>
          </a:p>
        </p:txBody>
      </p:sp>
      <p:sp>
        <p:nvSpPr>
          <p:cNvPr id="8" name="Rektangel: avrundede hjørner 7">
            <a:extLst>
              <a:ext uri="{FF2B5EF4-FFF2-40B4-BE49-F238E27FC236}">
                <a16:creationId xmlns:a16="http://schemas.microsoft.com/office/drawing/2014/main" id="{A9F6D2DF-0F8C-5C61-82AD-B404F2C4BBA6}"/>
              </a:ext>
            </a:extLst>
          </p:cNvPr>
          <p:cNvSpPr/>
          <p:nvPr/>
        </p:nvSpPr>
        <p:spPr>
          <a:xfrm>
            <a:off x="1488141" y="5654468"/>
            <a:ext cx="9152965" cy="439270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Veilednings- og godkjenningsordning</a:t>
            </a:r>
          </a:p>
        </p:txBody>
      </p:sp>
      <p:sp>
        <p:nvSpPr>
          <p:cNvPr id="9" name="Rektangel: avrundede hjørner 8">
            <a:extLst>
              <a:ext uri="{FF2B5EF4-FFF2-40B4-BE49-F238E27FC236}">
                <a16:creationId xmlns:a16="http://schemas.microsoft.com/office/drawing/2014/main" id="{C9C67DF1-CC52-57E1-0020-6FB65B324FEC}"/>
              </a:ext>
            </a:extLst>
          </p:cNvPr>
          <p:cNvSpPr/>
          <p:nvPr/>
        </p:nvSpPr>
        <p:spPr>
          <a:xfrm>
            <a:off x="1684421" y="4510806"/>
            <a:ext cx="2526632" cy="272715"/>
          </a:xfrm>
          <a:prstGeom prst="round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1A729682-0A25-6223-D45C-FDCAE4F032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33660" y="4523022"/>
            <a:ext cx="650698" cy="257898"/>
          </a:xfrm>
          <a:prstGeom prst="rect">
            <a:avLst/>
          </a:prstGeom>
        </p:spPr>
      </p:pic>
      <p:sp>
        <p:nvSpPr>
          <p:cNvPr id="10" name="Rektangel: avrundede hjørner 9">
            <a:extLst>
              <a:ext uri="{FF2B5EF4-FFF2-40B4-BE49-F238E27FC236}">
                <a16:creationId xmlns:a16="http://schemas.microsoft.com/office/drawing/2014/main" id="{3AC2FEA0-B9ED-4DAA-B6E2-5293374C8BAB}"/>
              </a:ext>
            </a:extLst>
          </p:cNvPr>
          <p:cNvSpPr/>
          <p:nvPr/>
        </p:nvSpPr>
        <p:spPr>
          <a:xfrm>
            <a:off x="1488140" y="6170100"/>
            <a:ext cx="9152965" cy="439270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Kompetanseheving, gevinstrealisering og ROS/DPIA</a:t>
            </a:r>
          </a:p>
        </p:txBody>
      </p:sp>
      <p:pic>
        <p:nvPicPr>
          <p:cNvPr id="13" name="Bilde 12">
            <a:extLst>
              <a:ext uri="{FF2B5EF4-FFF2-40B4-BE49-F238E27FC236}">
                <a16:creationId xmlns:a16="http://schemas.microsoft.com/office/drawing/2014/main" id="{F72A03B0-92FD-2C40-D0D5-9AFEBFB2CE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84421" y="5342983"/>
            <a:ext cx="1781424" cy="97168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21868238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11A32C-C504-A335-0A93-41F9338AFB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 descr="Stresset lege på jobb">
            <a:extLst>
              <a:ext uri="{FF2B5EF4-FFF2-40B4-BE49-F238E27FC236}">
                <a16:creationId xmlns:a16="http://schemas.microsoft.com/office/drawing/2014/main" id="{0E8E8775-BED1-8200-5C62-253A2747DB8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81" b="641"/>
          <a:stretch>
            <a:fillRect/>
          </a:stretch>
        </p:blipFill>
        <p:spPr>
          <a:xfrm>
            <a:off x="20" y="10"/>
            <a:ext cx="12191980" cy="6857990"/>
          </a:xfrm>
          <a:prstGeom prst="rect">
            <a:avLst/>
          </a:prstGeom>
          <a:noFill/>
        </p:spPr>
      </p:pic>
      <p:sp>
        <p:nvSpPr>
          <p:cNvPr id="7" name="TekstSylinder 6">
            <a:extLst>
              <a:ext uri="{FF2B5EF4-FFF2-40B4-BE49-F238E27FC236}">
                <a16:creationId xmlns:a16="http://schemas.microsoft.com/office/drawing/2014/main" id="{0CFDD2F0-4005-09EF-417F-5C380E77FF90}"/>
              </a:ext>
            </a:extLst>
          </p:cNvPr>
          <p:cNvSpPr txBox="1"/>
          <p:nvPr/>
        </p:nvSpPr>
        <p:spPr>
          <a:xfrm>
            <a:off x="791058" y="2286008"/>
            <a:ext cx="6517938" cy="18466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96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G</a:t>
            </a:r>
            <a:r>
              <a:rPr lang="nb-NO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evinstuttak </a:t>
            </a:r>
            <a:r>
              <a:rPr lang="nb-NO" sz="4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=</a:t>
            </a:r>
            <a:r>
              <a:rPr lang="nb-NO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</a:t>
            </a:r>
            <a:r>
              <a:rPr lang="nb-NO" sz="96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B</a:t>
            </a:r>
            <a:r>
              <a:rPr lang="nb-NO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rukervennlighet </a:t>
            </a:r>
            <a:r>
              <a:rPr lang="nb-NO" sz="36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x</a:t>
            </a:r>
            <a:r>
              <a:rPr lang="nb-NO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</a:t>
            </a:r>
            <a:r>
              <a:rPr lang="nb-NO" sz="8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K</a:t>
            </a:r>
            <a:r>
              <a:rPr lang="nb-NO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ompetanse</a:t>
            </a:r>
          </a:p>
          <a:p>
            <a:endParaRPr lang="nb-NO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grpSp>
        <p:nvGrpSpPr>
          <p:cNvPr id="18" name="Gruppe 17">
            <a:extLst>
              <a:ext uri="{FF2B5EF4-FFF2-40B4-BE49-F238E27FC236}">
                <a16:creationId xmlns:a16="http://schemas.microsoft.com/office/drawing/2014/main" id="{4F4BC75C-F4A3-15F8-6463-F8DB6A5AD0DA}"/>
              </a:ext>
            </a:extLst>
          </p:cNvPr>
          <p:cNvGrpSpPr/>
          <p:nvPr/>
        </p:nvGrpSpPr>
        <p:grpSpPr>
          <a:xfrm>
            <a:off x="83812" y="773677"/>
            <a:ext cx="7264318" cy="1784697"/>
            <a:chOff x="83812" y="773677"/>
            <a:chExt cx="7264318" cy="1784697"/>
          </a:xfrm>
        </p:grpSpPr>
        <p:cxnSp>
          <p:nvCxnSpPr>
            <p:cNvPr id="5" name="Rett pilkobling 4">
              <a:extLst>
                <a:ext uri="{FF2B5EF4-FFF2-40B4-BE49-F238E27FC236}">
                  <a16:creationId xmlns:a16="http://schemas.microsoft.com/office/drawing/2014/main" id="{8C492569-5094-6CCC-40DD-9C8C61B2C90B}"/>
                </a:ext>
              </a:extLst>
            </p:cNvPr>
            <p:cNvCxnSpPr/>
            <p:nvPr/>
          </p:nvCxnSpPr>
          <p:spPr>
            <a:xfrm flipH="1">
              <a:off x="1449421" y="1264596"/>
              <a:ext cx="671209" cy="1293778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8" name="Rett pilkobling 7">
              <a:extLst>
                <a:ext uri="{FF2B5EF4-FFF2-40B4-BE49-F238E27FC236}">
                  <a16:creationId xmlns:a16="http://schemas.microsoft.com/office/drawing/2014/main" id="{9F92367F-ED02-31F3-D8B4-10B61A612886}"/>
                </a:ext>
              </a:extLst>
            </p:cNvPr>
            <p:cNvCxnSpPr>
              <a:cxnSpLocks/>
            </p:cNvCxnSpPr>
            <p:nvPr/>
          </p:nvCxnSpPr>
          <p:spPr>
            <a:xfrm>
              <a:off x="515566" y="1264596"/>
              <a:ext cx="697149" cy="1293778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Rett pilkobling 11">
              <a:extLst>
                <a:ext uri="{FF2B5EF4-FFF2-40B4-BE49-F238E27FC236}">
                  <a16:creationId xmlns:a16="http://schemas.microsoft.com/office/drawing/2014/main" id="{54ECDD11-0ED7-3AED-9F24-6578082A5C2D}"/>
                </a:ext>
              </a:extLst>
            </p:cNvPr>
            <p:cNvCxnSpPr/>
            <p:nvPr/>
          </p:nvCxnSpPr>
          <p:spPr>
            <a:xfrm flipH="1">
              <a:off x="3625174" y="1240277"/>
              <a:ext cx="671209" cy="1293778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Rett pilkobling 12">
              <a:extLst>
                <a:ext uri="{FF2B5EF4-FFF2-40B4-BE49-F238E27FC236}">
                  <a16:creationId xmlns:a16="http://schemas.microsoft.com/office/drawing/2014/main" id="{CCBD8133-107A-B5D6-2AA4-0AA3BC9655F5}"/>
                </a:ext>
              </a:extLst>
            </p:cNvPr>
            <p:cNvCxnSpPr/>
            <p:nvPr/>
          </p:nvCxnSpPr>
          <p:spPr>
            <a:xfrm flipH="1">
              <a:off x="6014935" y="1240277"/>
              <a:ext cx="671209" cy="1293778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14" name="TekstSylinder 13">
              <a:extLst>
                <a:ext uri="{FF2B5EF4-FFF2-40B4-BE49-F238E27FC236}">
                  <a16:creationId xmlns:a16="http://schemas.microsoft.com/office/drawing/2014/main" id="{29B84EF2-A192-CD55-0774-28ED35CA8A44}"/>
                </a:ext>
              </a:extLst>
            </p:cNvPr>
            <p:cNvSpPr txBox="1"/>
            <p:nvPr/>
          </p:nvSpPr>
          <p:spPr>
            <a:xfrm>
              <a:off x="3253918" y="773677"/>
              <a:ext cx="208493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nb-NO"/>
                <a:t>Krav til leverandører</a:t>
              </a:r>
            </a:p>
          </p:txBody>
        </p:sp>
        <p:sp>
          <p:nvSpPr>
            <p:cNvPr id="15" name="TekstSylinder 14">
              <a:extLst>
                <a:ext uri="{FF2B5EF4-FFF2-40B4-BE49-F238E27FC236}">
                  <a16:creationId xmlns:a16="http://schemas.microsoft.com/office/drawing/2014/main" id="{25302DA8-BC18-7BFA-0D5C-0D05C79611AE}"/>
                </a:ext>
              </a:extLst>
            </p:cNvPr>
            <p:cNvSpPr txBox="1"/>
            <p:nvPr/>
          </p:nvSpPr>
          <p:spPr>
            <a:xfrm>
              <a:off x="6063611" y="773677"/>
              <a:ext cx="128451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nb-NO"/>
                <a:t>Best praksis</a:t>
              </a:r>
            </a:p>
          </p:txBody>
        </p:sp>
        <p:sp>
          <p:nvSpPr>
            <p:cNvPr id="16" name="TekstSylinder 15">
              <a:extLst>
                <a:ext uri="{FF2B5EF4-FFF2-40B4-BE49-F238E27FC236}">
                  <a16:creationId xmlns:a16="http://schemas.microsoft.com/office/drawing/2014/main" id="{7746C8EF-A67B-2AB0-3C0A-6C8054FD25EC}"/>
                </a:ext>
              </a:extLst>
            </p:cNvPr>
            <p:cNvSpPr txBox="1"/>
            <p:nvPr/>
          </p:nvSpPr>
          <p:spPr>
            <a:xfrm>
              <a:off x="1684841" y="773677"/>
              <a:ext cx="8762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nb-NO"/>
                <a:t>Kvalitet</a:t>
              </a:r>
            </a:p>
          </p:txBody>
        </p:sp>
        <p:sp>
          <p:nvSpPr>
            <p:cNvPr id="17" name="TekstSylinder 16">
              <a:extLst>
                <a:ext uri="{FF2B5EF4-FFF2-40B4-BE49-F238E27FC236}">
                  <a16:creationId xmlns:a16="http://schemas.microsoft.com/office/drawing/2014/main" id="{1B43F1AC-8364-9B3A-E3ED-F9328C34D202}"/>
                </a:ext>
              </a:extLst>
            </p:cNvPr>
            <p:cNvSpPr txBox="1"/>
            <p:nvPr/>
          </p:nvSpPr>
          <p:spPr>
            <a:xfrm>
              <a:off x="83812" y="773677"/>
              <a:ext cx="103772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nb-NO"/>
                <a:t>Økonomi</a:t>
              </a:r>
            </a:p>
          </p:txBody>
        </p:sp>
      </p:grpSp>
      <p:sp>
        <p:nvSpPr>
          <p:cNvPr id="2" name="TekstSylinder 1">
            <a:extLst>
              <a:ext uri="{FF2B5EF4-FFF2-40B4-BE49-F238E27FC236}">
                <a16:creationId xmlns:a16="http://schemas.microsoft.com/office/drawing/2014/main" id="{0CFFFF3C-4210-AA25-81D6-A0D738A07549}"/>
              </a:ext>
            </a:extLst>
          </p:cNvPr>
          <p:cNvSpPr txBox="1"/>
          <p:nvPr/>
        </p:nvSpPr>
        <p:spPr>
          <a:xfrm>
            <a:off x="938306" y="5057402"/>
            <a:ext cx="5157694" cy="153888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i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Forutsatt løsningene er tilpasset kommunens </a:t>
            </a:r>
            <a:r>
              <a:rPr lang="nb-NO" sz="4000" b="1" i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B</a:t>
            </a:r>
            <a:r>
              <a:rPr lang="nb-NO" i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ehov</a:t>
            </a:r>
          </a:p>
          <a:p>
            <a:r>
              <a:rPr lang="nb-NO" i="1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Med klar </a:t>
            </a:r>
            <a:r>
              <a:rPr lang="nb-NO" sz="3600" b="1" i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</a:t>
            </a:r>
            <a:r>
              <a:rPr lang="nb-NO" i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yring og </a:t>
            </a:r>
            <a:r>
              <a:rPr lang="nb-NO" sz="3600" b="1" i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P</a:t>
            </a:r>
            <a:r>
              <a:rPr lang="nb-NO" i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rioritering </a:t>
            </a: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082265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849EC7-32E6-8612-1782-C75DDC9968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782CBD5-8D7B-08FE-445A-1DE3BC7DF9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3699" y="597199"/>
            <a:ext cx="10958856" cy="1325563"/>
          </a:xfrm>
        </p:spPr>
        <p:txBody>
          <a:bodyPr>
            <a:normAutofit fontScale="90000"/>
          </a:bodyPr>
          <a:lstStyle/>
          <a:p>
            <a:r>
              <a:rPr lang="nb-NO" dirty="0" err="1"/>
              <a:t>Nullpunktsmåling</a:t>
            </a:r>
            <a:br>
              <a:rPr lang="nb-NO" dirty="0"/>
            </a:br>
            <a:r>
              <a:rPr lang="nb-NO" dirty="0"/>
              <a:t>Vi lager felles løsning – Visualisering - Fra Rogaland til Nasjonalt!</a:t>
            </a: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6F7E4F82-DE53-A145-EE9F-73E75D1DFC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146" y="2472944"/>
            <a:ext cx="4741472" cy="2654730"/>
          </a:xfrm>
          <a:prstGeom prst="rect">
            <a:avLst/>
          </a:prstGeom>
          <a:ln w="381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0C96847-3496-FEDB-B82C-B2AF4CAD6C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0222" y="2472944"/>
            <a:ext cx="4744781" cy="2654730"/>
          </a:xfrm>
          <a:prstGeom prst="rect">
            <a:avLst/>
          </a:prstGeom>
          <a:ln w="381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sp>
        <p:nvSpPr>
          <p:cNvPr id="7" name="TekstSylinder 6">
            <a:extLst>
              <a:ext uri="{FF2B5EF4-FFF2-40B4-BE49-F238E27FC236}">
                <a16:creationId xmlns:a16="http://schemas.microsoft.com/office/drawing/2014/main" id="{487F079B-2729-470F-A40E-4A7AAB91A4F9}"/>
              </a:ext>
            </a:extLst>
          </p:cNvPr>
          <p:cNvSpPr txBox="1"/>
          <p:nvPr/>
        </p:nvSpPr>
        <p:spPr>
          <a:xfrm>
            <a:off x="8511098" y="47017"/>
            <a:ext cx="2321170" cy="36933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nb-NO">
                <a:solidFill>
                  <a:srgbClr val="001046"/>
                </a:solidFill>
              </a:rPr>
              <a:t>OBS! Under arbeid</a:t>
            </a:r>
          </a:p>
        </p:txBody>
      </p:sp>
    </p:spTree>
    <p:extLst>
      <p:ext uri="{BB962C8B-B14F-4D97-AF65-F5344CB8AC3E}">
        <p14:creationId xmlns:p14="http://schemas.microsoft.com/office/powerpoint/2010/main" val="1248239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Person som holder hånd">
            <a:extLst>
              <a:ext uri="{FF2B5EF4-FFF2-40B4-BE49-F238E27FC236}">
                <a16:creationId xmlns:a16="http://schemas.microsoft.com/office/drawing/2014/main" id="{AF5180A4-5368-4FB0-DDF1-B0151117F2D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30"/>
          <a:stretch>
            <a:fillRect/>
          </a:stretch>
        </p:blipFill>
        <p:spPr>
          <a:xfrm>
            <a:off x="20" y="10"/>
            <a:ext cx="12191980" cy="6857990"/>
          </a:xfrm>
          <a:prstGeom prst="rect">
            <a:avLst/>
          </a:prstGeom>
          <a:noFill/>
        </p:spPr>
      </p:pic>
      <p:sp>
        <p:nvSpPr>
          <p:cNvPr id="4" name="TekstSylinder 3">
            <a:extLst>
              <a:ext uri="{FF2B5EF4-FFF2-40B4-BE49-F238E27FC236}">
                <a16:creationId xmlns:a16="http://schemas.microsoft.com/office/drawing/2014/main" id="{6FC2B7D7-1F36-39D4-7EDD-BE340030D4DF}"/>
              </a:ext>
            </a:extLst>
          </p:cNvPr>
          <p:cNvSpPr txBox="1"/>
          <p:nvPr/>
        </p:nvSpPr>
        <p:spPr>
          <a:xfrm>
            <a:off x="475861" y="214604"/>
            <a:ext cx="452662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4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Velferdsteknologi</a:t>
            </a:r>
          </a:p>
        </p:txBody>
      </p:sp>
    </p:spTree>
    <p:extLst>
      <p:ext uri="{BB962C8B-B14F-4D97-AF65-F5344CB8AC3E}">
        <p14:creationId xmlns:p14="http://schemas.microsoft.com/office/powerpoint/2010/main" val="115367970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13A58427-953D-4AD2-0D7B-08F02F7BFC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5999" y="516163"/>
            <a:ext cx="5942857" cy="5561905"/>
          </a:xfrm>
          <a:prstGeom prst="rect">
            <a:avLst/>
          </a:prstGeom>
        </p:spPr>
      </p:pic>
      <p:sp>
        <p:nvSpPr>
          <p:cNvPr id="3" name="Plassholder for innhold 17">
            <a:extLst>
              <a:ext uri="{FF2B5EF4-FFF2-40B4-BE49-F238E27FC236}">
                <a16:creationId xmlns:a16="http://schemas.microsoft.com/office/drawing/2014/main" id="{C33371B6-4105-AB17-27C8-6231BD390760}"/>
              </a:ext>
            </a:extLst>
          </p:cNvPr>
          <p:cNvSpPr txBox="1">
            <a:spLocks/>
          </p:cNvSpPr>
          <p:nvPr/>
        </p:nvSpPr>
        <p:spPr>
          <a:xfrm>
            <a:off x="923482" y="3429000"/>
            <a:ext cx="4786438" cy="26490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defPPr>
              <a:defRPr lang="nb-NO"/>
            </a:defPPr>
            <a:lvl1pPr marL="0" algn="l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408"/>
              </a:spcBef>
            </a:pPr>
            <a:r>
              <a:rPr lang="nb-NO" sz="1800" b="1" dirty="0">
                <a:solidFill>
                  <a:srgbClr val="001A58"/>
                </a:solidFill>
                <a:latin typeface="Calibri" panose="020F0502020204030204" pitchFamily="34" charset="0"/>
              </a:rPr>
              <a:t>Hovedtall – Hele landet</a:t>
            </a:r>
            <a:endParaRPr lang="nb-NO" sz="1800" dirty="0">
              <a:solidFill>
                <a:srgbClr val="001A58"/>
              </a:solidFill>
              <a:latin typeface="Calibri" panose="020F0502020204030204" pitchFamily="34" charset="0"/>
            </a:endParaRPr>
          </a:p>
          <a:p>
            <a:pPr marL="347472" indent="-347472">
              <a:lnSpc>
                <a:spcPct val="90000"/>
              </a:lnSpc>
              <a:spcBef>
                <a:spcPts val="408"/>
              </a:spcBef>
              <a:buFont typeface="Arial" panose="020B0604020202020204" pitchFamily="34" charset="0"/>
              <a:buChar char="•"/>
            </a:pPr>
            <a:r>
              <a:rPr lang="nb-NO" sz="1800" b="1" dirty="0">
                <a:solidFill>
                  <a:srgbClr val="001A58"/>
                </a:solidFill>
                <a:latin typeface="Calibri" panose="020F0502020204030204" pitchFamily="34" charset="0"/>
              </a:rPr>
              <a:t>Innbyggere:</a:t>
            </a:r>
            <a:r>
              <a:rPr lang="nb-NO" sz="1800" dirty="0">
                <a:solidFill>
                  <a:srgbClr val="001A58"/>
                </a:solidFill>
                <a:latin typeface="Calibri" panose="020F0502020204030204" pitchFamily="34" charset="0"/>
              </a:rPr>
              <a:t> 5 627 400</a:t>
            </a:r>
            <a:br>
              <a:rPr lang="nb-NO" sz="1800" dirty="0">
                <a:solidFill>
                  <a:srgbClr val="001A58"/>
                </a:solidFill>
                <a:latin typeface="Calibri" panose="020F0502020204030204" pitchFamily="34" charset="0"/>
              </a:rPr>
            </a:br>
            <a:endParaRPr lang="nb-NO" sz="1800" dirty="0">
              <a:solidFill>
                <a:srgbClr val="001A58"/>
              </a:solidFill>
              <a:latin typeface="Calibri" panose="020F0502020204030204" pitchFamily="34" charset="0"/>
            </a:endParaRPr>
          </a:p>
          <a:p>
            <a:pPr marL="347472" indent="-347472">
              <a:lnSpc>
                <a:spcPct val="90000"/>
              </a:lnSpc>
              <a:spcBef>
                <a:spcPts val="408"/>
              </a:spcBef>
              <a:buFont typeface="Arial" panose="020B0604020202020204" pitchFamily="34" charset="0"/>
              <a:buChar char="•"/>
            </a:pPr>
            <a:r>
              <a:rPr lang="nb-NO" sz="1800" b="1" dirty="0">
                <a:solidFill>
                  <a:srgbClr val="001A58"/>
                </a:solidFill>
                <a:latin typeface="Calibri" panose="020F0502020204030204" pitchFamily="34" charset="0"/>
              </a:rPr>
              <a:t>Totalt antall brukere av helse- og omsorgstjenester:</a:t>
            </a:r>
            <a:br>
              <a:rPr lang="nb-NO" sz="1800" b="1" dirty="0">
                <a:solidFill>
                  <a:srgbClr val="001A58"/>
                </a:solidFill>
                <a:latin typeface="Calibri" panose="020F0502020204030204" pitchFamily="34" charset="0"/>
              </a:rPr>
            </a:br>
            <a:br>
              <a:rPr lang="nb-NO" sz="1800" dirty="0">
                <a:solidFill>
                  <a:srgbClr val="001A58"/>
                </a:solidFill>
                <a:latin typeface="Calibri" panose="020F0502020204030204" pitchFamily="34" charset="0"/>
              </a:rPr>
            </a:br>
            <a:r>
              <a:rPr lang="nb-NO" sz="1800" dirty="0">
                <a:solidFill>
                  <a:srgbClr val="001A58"/>
                </a:solidFill>
                <a:latin typeface="Calibri" panose="020F0502020204030204" pitchFamily="34" charset="0"/>
              </a:rPr>
              <a:t>   396 691 (7 % av befolkningen)</a:t>
            </a:r>
          </a:p>
          <a:p>
            <a:pPr>
              <a:lnSpc>
                <a:spcPct val="90000"/>
              </a:lnSpc>
              <a:spcBef>
                <a:spcPts val="408"/>
              </a:spcBef>
            </a:pPr>
            <a:r>
              <a:rPr lang="nb-NO" sz="1800" dirty="0">
                <a:solidFill>
                  <a:srgbClr val="001A58"/>
                </a:solidFill>
                <a:latin typeface="Calibri" panose="020F0502020204030204" pitchFamily="34" charset="0"/>
              </a:rPr>
              <a:t>	173 149 med tjenester i hjemmet</a:t>
            </a:r>
            <a:br>
              <a:rPr lang="nb-NO" sz="1800" dirty="0">
                <a:solidFill>
                  <a:srgbClr val="001A58"/>
                </a:solidFill>
                <a:latin typeface="Calibri" panose="020F0502020204030204" pitchFamily="34" charset="0"/>
              </a:rPr>
            </a:br>
            <a:endParaRPr lang="nb-NO" sz="1800" dirty="0">
              <a:solidFill>
                <a:srgbClr val="001A58"/>
              </a:solidFill>
              <a:latin typeface="Calibri" panose="020F0502020204030204" pitchFamily="34" charset="0"/>
            </a:endParaRPr>
          </a:p>
          <a:p>
            <a:pPr marL="347472" indent="-347472">
              <a:lnSpc>
                <a:spcPct val="90000"/>
              </a:lnSpc>
              <a:spcBef>
                <a:spcPts val="408"/>
              </a:spcBef>
              <a:buFont typeface="Arial" panose="020B0604020202020204" pitchFamily="34" charset="0"/>
              <a:buChar char="•"/>
            </a:pPr>
            <a:r>
              <a:rPr lang="nb-NO" sz="1800" b="1" dirty="0">
                <a:solidFill>
                  <a:srgbClr val="001A58"/>
                </a:solidFill>
                <a:latin typeface="Calibri" panose="020F0502020204030204" pitchFamily="34" charset="0"/>
              </a:rPr>
              <a:t>Gjennomsnittlig andel brukere med:</a:t>
            </a:r>
            <a:endParaRPr lang="nb-NO" sz="1800" dirty="0">
              <a:solidFill>
                <a:srgbClr val="001A58"/>
              </a:solidFill>
              <a:latin typeface="Calibri" panose="020F0502020204030204" pitchFamily="34" charset="0"/>
            </a:endParaRPr>
          </a:p>
          <a:p>
            <a:pPr marL="804672" lvl="1" indent="-347472">
              <a:lnSpc>
                <a:spcPct val="90000"/>
              </a:lnSpc>
              <a:spcBef>
                <a:spcPts val="408"/>
              </a:spcBef>
              <a:buFont typeface="Arial" panose="020B0604020202020204" pitchFamily="34" charset="0"/>
              <a:buChar char="•"/>
            </a:pPr>
            <a:r>
              <a:rPr lang="nb-NO" dirty="0">
                <a:solidFill>
                  <a:srgbClr val="001A58"/>
                </a:solidFill>
                <a:latin typeface="Calibri" panose="020F0502020204030204" pitchFamily="34" charset="0"/>
              </a:rPr>
              <a:t>Elektronisk medisindispenser: 3,25 %</a:t>
            </a:r>
          </a:p>
          <a:p>
            <a:pPr marL="804672" lvl="1" indent="-347472">
              <a:lnSpc>
                <a:spcPct val="90000"/>
              </a:lnSpc>
              <a:spcBef>
                <a:spcPts val="408"/>
              </a:spcBef>
              <a:buFont typeface="Arial" panose="020B0604020202020204" pitchFamily="34" charset="0"/>
              <a:buChar char="•"/>
            </a:pPr>
            <a:r>
              <a:rPr lang="nb-NO" dirty="0">
                <a:solidFill>
                  <a:srgbClr val="001A58"/>
                </a:solidFill>
                <a:latin typeface="Calibri" panose="020F0502020204030204" pitchFamily="34" charset="0"/>
              </a:rPr>
              <a:t>Digitalt tilsyn: 5,67 %</a:t>
            </a:r>
            <a:endParaRPr lang="nb-NO" dirty="0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BF21B699-3319-227D-B499-D539DF4F54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3482" y="222068"/>
            <a:ext cx="4954713" cy="31205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7034358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EF5B4CC-581F-2A43-31EF-06BC513674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sz="2667" dirty="0">
                <a:latin typeface="Montserrat" panose="00000500000000000000" pitchFamily="2" charset="0"/>
              </a:rPr>
              <a:t>KS FoU 224004 - Gir helseteknologi forventede gevinster</a:t>
            </a:r>
            <a:br>
              <a:rPr lang="nb-NO" sz="2400" dirty="0"/>
            </a:br>
            <a:endParaRPr lang="nb-NO" dirty="0"/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3AAE6B56-4A90-D226-3B3E-50A0CC264EDF}"/>
              </a:ext>
            </a:extLst>
          </p:cNvPr>
          <p:cNvSpPr txBox="1"/>
          <p:nvPr/>
        </p:nvSpPr>
        <p:spPr>
          <a:xfrm>
            <a:off x="350760" y="5122709"/>
            <a:ext cx="4221242" cy="568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800"/>
              </a:spcBef>
            </a:pPr>
            <a:r>
              <a:rPr lang="nb-NO" sz="900" dirty="0"/>
              <a:t>KS FoU 224004 er oppfølging av tidligere KS-oppdrag der kommunenes e-helsekostnader ble kartlagt.</a:t>
            </a:r>
          </a:p>
          <a:p>
            <a:pPr>
              <a:lnSpc>
                <a:spcPct val="90000"/>
              </a:lnSpc>
              <a:spcBef>
                <a:spcPts val="800"/>
              </a:spcBef>
            </a:pPr>
            <a:r>
              <a:rPr lang="nb-NO" sz="900" dirty="0"/>
              <a:t>Oppdraget gjennomføres av Oslo Economics, og sluttført høsten 2024.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659794B9-D172-515B-274D-A931DB593F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1229" y="1421038"/>
            <a:ext cx="2290349" cy="324847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39896078-A822-4052-AE48-4A4C09AEE087}"/>
              </a:ext>
            </a:extLst>
          </p:cNvPr>
          <p:cNvGraphicFramePr/>
          <p:nvPr/>
        </p:nvGraphicFramePr>
        <p:xfrm>
          <a:off x="4428752" y="1962784"/>
          <a:ext cx="7500977" cy="21945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kstSylinder 5">
            <a:extLst>
              <a:ext uri="{FF2B5EF4-FFF2-40B4-BE49-F238E27FC236}">
                <a16:creationId xmlns:a16="http://schemas.microsoft.com/office/drawing/2014/main" id="{AC5891C5-AE23-6F6A-916A-E4A196A2D0A8}"/>
              </a:ext>
            </a:extLst>
          </p:cNvPr>
          <p:cNvSpPr txBox="1"/>
          <p:nvPr/>
        </p:nvSpPr>
        <p:spPr>
          <a:xfrm>
            <a:off x="4850223" y="4262127"/>
            <a:ext cx="6505349" cy="13126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nb-NO" sz="1100"/>
              <a:t>En spørreundersøkelse blant kommuner, med 115 respondenter, har avdekket overordnet bruk og opplevd nytte av e-helseløsninger blant kommunene.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nb-NO" sz="1100"/>
              <a:t>På en skala fra 1 til 5, der 1 er ingen gevinst og 5 er svært stor gevinst, fremkommer svarene som vist under. Som vi ser opplever kommunene størst gevinster i form av økt kvalitet, dernest i form av redusert tidsbruk, og i minst grad i form av reduserte kostnader. Gevinstene oppleves som noe høyere for velferdsteknologi sammenlignet med nasjonale løsninger.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nb-NO" sz="1100"/>
              <a:t>Digitalt tilsyn fremstår som enkeltløsningen med høyest gevinst.</a:t>
            </a:r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8F2512EB-FF49-260E-281E-1C1323539529}"/>
              </a:ext>
            </a:extLst>
          </p:cNvPr>
          <p:cNvSpPr txBox="1">
            <a:spLocks/>
          </p:cNvSpPr>
          <p:nvPr/>
        </p:nvSpPr>
        <p:spPr>
          <a:xfrm>
            <a:off x="5362884" y="1283207"/>
            <a:ext cx="5992688" cy="62297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rgbClr val="001A58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1400" dirty="0"/>
              <a:t>Kommunene opplever i størst grad kvalitative gevinster, og aller mest fra </a:t>
            </a:r>
            <a:r>
              <a:rPr lang="nb-NO" sz="1400" b="1" dirty="0"/>
              <a:t>digitalt tilsyn </a:t>
            </a:r>
            <a:r>
              <a:rPr lang="nb-NO" sz="1400" dirty="0"/>
              <a:t>og </a:t>
            </a:r>
            <a:r>
              <a:rPr lang="nb-NO" sz="1400" b="1" dirty="0"/>
              <a:t>elektronisk medisineringsstøtte</a:t>
            </a:r>
          </a:p>
        </p:txBody>
      </p:sp>
    </p:spTree>
    <p:extLst>
      <p:ext uri="{BB962C8B-B14F-4D97-AF65-F5344CB8AC3E}">
        <p14:creationId xmlns:p14="http://schemas.microsoft.com/office/powerpoint/2010/main" val="381632072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20D8EE0-AB66-C32B-EB66-AE785C55ED8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456846" y="1759226"/>
            <a:ext cx="5343938" cy="415068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b-NO" sz="6600" i="1" noProof="0" dirty="0">
                <a:latin typeface="Aptos" panose="020B0004020202020204" pitchFamily="34" charset="0"/>
              </a:rPr>
              <a:t>Et utappet potensiale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C7A7B3E-D30C-3C6F-E3FD-4047BEEC4DD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44965"/>
          <a:stretch>
            <a:fillRect/>
          </a:stretch>
        </p:blipFill>
        <p:spPr>
          <a:xfrm>
            <a:off x="981870" y="503306"/>
            <a:ext cx="4753285" cy="5238467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1928605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7DD4A5-8B3B-2E44-71BD-44C4058FE6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17E69A1-BA5F-5FAF-BF98-E31C819F6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b-NO" dirty="0"/>
              <a:t>Kommunene trenger kapasitet og kompetanse for å kunne omstille og realisere gevinster, og det må stilles krav </a:t>
            </a: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89F96865-733A-C017-A48D-B69291B3D922}"/>
              </a:ext>
            </a:extLst>
          </p:cNvPr>
          <p:cNvSpPr txBox="1"/>
          <p:nvPr/>
        </p:nvSpPr>
        <p:spPr>
          <a:xfrm>
            <a:off x="4306709" y="33413"/>
            <a:ext cx="3578607" cy="5641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r>
              <a:rPr lang="nb-NO" sz="1333" dirty="0">
                <a:solidFill>
                  <a:schemeClr val="accent1"/>
                </a:solidFill>
              </a:rPr>
              <a:t>KS FOU: Gir helseteknologi forventede gevinster?</a:t>
            </a:r>
          </a:p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nb-NO" sz="1333" dirty="0">
              <a:solidFill>
                <a:schemeClr val="accent1"/>
              </a:solidFill>
            </a:endParaRP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FD5B9A52-8BE6-19FA-802A-71352243F7FF}"/>
              </a:ext>
            </a:extLst>
          </p:cNvPr>
          <p:cNvGraphicFramePr/>
          <p:nvPr/>
        </p:nvGraphicFramePr>
        <p:xfrm>
          <a:off x="1008000" y="2888668"/>
          <a:ext cx="9782400" cy="36696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8" name="TekstSylinder 17">
            <a:extLst>
              <a:ext uri="{FF2B5EF4-FFF2-40B4-BE49-F238E27FC236}">
                <a16:creationId xmlns:a16="http://schemas.microsoft.com/office/drawing/2014/main" id="{95901FC7-BF9A-B4E8-9AFE-50AB114AA4DB}"/>
              </a:ext>
            </a:extLst>
          </p:cNvPr>
          <p:cNvSpPr txBox="1"/>
          <p:nvPr/>
        </p:nvSpPr>
        <p:spPr>
          <a:xfrm>
            <a:off x="873600" y="2273115"/>
            <a:ext cx="103104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1600" dirty="0"/>
              <a:t>Dersom innføringen av en ny e-helseløsning medfører spart tid: Hva skal til for at denne gevinsten realiseres som redusert bruk av årsverk i helsetjenesten?</a:t>
            </a:r>
          </a:p>
        </p:txBody>
      </p:sp>
    </p:spTree>
    <p:extLst>
      <p:ext uri="{BB962C8B-B14F-4D97-AF65-F5344CB8AC3E}">
        <p14:creationId xmlns:p14="http://schemas.microsoft.com/office/powerpoint/2010/main" val="39786094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DC4E275-B3CC-D063-281B-A646758E42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dirty="0">
                <a:ea typeface="Calibri"/>
                <a:cs typeface="Calibri"/>
              </a:rPr>
              <a:t>Store endringer i økonomi og demografi:</a:t>
            </a:r>
            <a:endParaRPr lang="nb-NO" dirty="0"/>
          </a:p>
        </p:txBody>
      </p:sp>
      <p:pic>
        <p:nvPicPr>
          <p:cNvPr id="4" name="Plassholder for innhold 3" descr="Et bilde som inneholder skjermbilde, tekst, diagram, line&#10;&#10;KI-generert innhold kan være feil.">
            <a:extLst>
              <a:ext uri="{FF2B5EF4-FFF2-40B4-BE49-F238E27FC236}">
                <a16:creationId xmlns:a16="http://schemas.microsoft.com/office/drawing/2014/main" id="{9D76425D-5702-5198-8C3B-D5695A49511D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3"/>
          <a:stretch>
            <a:fillRect/>
          </a:stretch>
        </p:blipFill>
        <p:spPr>
          <a:xfrm>
            <a:off x="1020815" y="2073962"/>
            <a:ext cx="3959122" cy="4101289"/>
          </a:xfrm>
          <a:prstGeom prst="rect">
            <a:avLst/>
          </a:prstGeom>
        </p:spPr>
      </p:pic>
      <p:pic>
        <p:nvPicPr>
          <p:cNvPr id="5" name="Bilde 4" descr="Et bilde som inneholder tekst, skjermbilde, line, Font&#10;&#10;KI-generert innhold kan være feil.">
            <a:extLst>
              <a:ext uri="{FF2B5EF4-FFF2-40B4-BE49-F238E27FC236}">
                <a16:creationId xmlns:a16="http://schemas.microsoft.com/office/drawing/2014/main" id="{18283BAB-6F9E-B779-D14D-59F3D9F19CD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32842" y="1809749"/>
            <a:ext cx="6227582" cy="4367894"/>
          </a:xfrm>
          <a:prstGeom prst="rect">
            <a:avLst/>
          </a:prstGeom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A56B3EB3-232E-4AB8-2CFE-A10BF5C8AFC0}"/>
              </a:ext>
            </a:extLst>
          </p:cNvPr>
          <p:cNvSpPr txBox="1"/>
          <p:nvPr/>
        </p:nvSpPr>
        <p:spPr>
          <a:xfrm>
            <a:off x="1017608" y="1812803"/>
            <a:ext cx="2743200" cy="4001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nb-NO" sz="2000">
                <a:ea typeface="Calibri"/>
                <a:cs typeface="Calibri"/>
              </a:rPr>
              <a:t>Demografisk revolusjon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860FD496-D3C5-15B3-EF98-DC9B36651602}"/>
              </a:ext>
            </a:extLst>
          </p:cNvPr>
          <p:cNvSpPr txBox="1"/>
          <p:nvPr/>
        </p:nvSpPr>
        <p:spPr>
          <a:xfrm>
            <a:off x="8446633" y="575660"/>
            <a:ext cx="428413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 i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«Vi må ikke bare skjære til beinet.</a:t>
            </a:r>
          </a:p>
          <a:p>
            <a:r>
              <a:rPr lang="nb-NO" sz="2000" i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Vi må skjære i beinet!», </a:t>
            </a:r>
            <a:r>
              <a:rPr lang="nb-NO" sz="900" i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ordfører kommune</a:t>
            </a:r>
            <a:endParaRPr lang="nb-NO" sz="2000" i="1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ADF7B624-3ABD-BCE9-889C-4B8EA804CBF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79230" y="1998589"/>
            <a:ext cx="4554319" cy="399021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685718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6CC5D6-8BFB-979C-DD4C-54FE3B73E8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5FC25C1-B07D-4BAE-622C-D77F791663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3546"/>
            <a:ext cx="10972800" cy="1132114"/>
          </a:xfrm>
        </p:spPr>
        <p:txBody>
          <a:bodyPr anchor="ctr">
            <a:normAutofit/>
          </a:bodyPr>
          <a:lstStyle/>
          <a:p>
            <a:r>
              <a:rPr lang="nb-NO"/>
              <a:t>Mål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313337AF-6742-8BDE-07D9-276DD2AB008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09601" y="1933810"/>
            <a:ext cx="10972800" cy="3976102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nb-NO" b="1" dirty="0">
                <a:ea typeface="+mn-lt"/>
                <a:cs typeface="+mn-lt"/>
              </a:rPr>
              <a:t>Gi kommunene konkret støtte gjennom tydelige føringer og standarder-</a:t>
            </a:r>
          </a:p>
          <a:p>
            <a:pPr marL="0" indent="0">
              <a:buNone/>
            </a:pPr>
            <a:r>
              <a:rPr lang="nb-NO" b="1" dirty="0">
                <a:ea typeface="+mn-lt"/>
                <a:cs typeface="+mn-lt"/>
              </a:rPr>
              <a:t>for å styrke kommunene evne til å ta å i bruk velferdsteknologi som skaper målbare gevinster for innbyggere, ansatte og tjenesten som helhet</a:t>
            </a:r>
            <a:endParaRPr lang="nb-NO" b="1" dirty="0"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0937320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DDA44D-9E68-6F0C-922A-F3A0288DD3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6F07A4B-FBFC-9D4A-52B7-FC6877611B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7231" y="105638"/>
            <a:ext cx="10972800" cy="1132114"/>
          </a:xfrm>
        </p:spPr>
        <p:txBody>
          <a:bodyPr anchor="ctr">
            <a:normAutofit/>
          </a:bodyPr>
          <a:lstStyle/>
          <a:p>
            <a:r>
              <a:rPr lang="nb-NO" sz="3200" b="1" dirty="0"/>
              <a:t>Hva ser vi nærmere på sammen med kommunal sektor?  </a:t>
            </a:r>
          </a:p>
        </p:txBody>
      </p:sp>
      <p:graphicFrame>
        <p:nvGraphicFramePr>
          <p:cNvPr id="7" name="Plassholder for innhold 4">
            <a:extLst>
              <a:ext uri="{FF2B5EF4-FFF2-40B4-BE49-F238E27FC236}">
                <a16:creationId xmlns:a16="http://schemas.microsoft.com/office/drawing/2014/main" id="{F94C1F57-2181-B0D6-AA9B-107030BDA930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3217238111"/>
              </p:ext>
            </p:extLst>
          </p:nvPr>
        </p:nvGraphicFramePr>
        <p:xfrm>
          <a:off x="609601" y="1366707"/>
          <a:ext cx="11172496" cy="47292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67047213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 descr="En robot som bruker en bærbar data maskin som sitter på en blå stol">
            <a:extLst>
              <a:ext uri="{FF2B5EF4-FFF2-40B4-BE49-F238E27FC236}">
                <a16:creationId xmlns:a16="http://schemas.microsoft.com/office/drawing/2014/main" id="{C70FC4DB-BD5B-6D78-8B21-64A0C932D55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ekstSylinder 1">
            <a:extLst>
              <a:ext uri="{FF2B5EF4-FFF2-40B4-BE49-F238E27FC236}">
                <a16:creationId xmlns:a16="http://schemas.microsoft.com/office/drawing/2014/main" id="{3607B9E7-443B-9A58-3FCE-F65A46E3CD97}"/>
              </a:ext>
            </a:extLst>
          </p:cNvPr>
          <p:cNvSpPr txBox="1"/>
          <p:nvPr/>
        </p:nvSpPr>
        <p:spPr>
          <a:xfrm>
            <a:off x="0" y="6539740"/>
            <a:ext cx="16050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200" i="1" dirty="0"/>
              <a:t>Bilde kilde: Stockbilder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179A8435-75F2-A5E7-361B-485F26A396DC}"/>
              </a:ext>
            </a:extLst>
          </p:cNvPr>
          <p:cNvSpPr txBox="1"/>
          <p:nvPr/>
        </p:nvSpPr>
        <p:spPr>
          <a:xfrm>
            <a:off x="475861" y="214604"/>
            <a:ext cx="469840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4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Kunstig intelligens</a:t>
            </a:r>
          </a:p>
        </p:txBody>
      </p:sp>
    </p:spTree>
    <p:extLst>
      <p:ext uri="{BB962C8B-B14F-4D97-AF65-F5344CB8AC3E}">
        <p14:creationId xmlns:p14="http://schemas.microsoft.com/office/powerpoint/2010/main" val="269081052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Tre hånd som holder blyant">
            <a:extLst>
              <a:ext uri="{FF2B5EF4-FFF2-40B4-BE49-F238E27FC236}">
                <a16:creationId xmlns:a16="http://schemas.microsoft.com/office/drawing/2014/main" id="{C6A32C8F-348F-0BB9-0A73-5A109D3B62A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" b="15707"/>
          <a:stretch>
            <a:fillRect/>
          </a:stretch>
        </p:blipFill>
        <p:spPr>
          <a:xfrm>
            <a:off x="20" y="10"/>
            <a:ext cx="12191980" cy="6857990"/>
          </a:xfrm>
          <a:prstGeom prst="rect">
            <a:avLst/>
          </a:prstGeom>
          <a:noFill/>
        </p:spPr>
      </p:pic>
      <p:sp>
        <p:nvSpPr>
          <p:cNvPr id="4" name="TekstSylinder 3">
            <a:extLst>
              <a:ext uri="{FF2B5EF4-FFF2-40B4-BE49-F238E27FC236}">
                <a16:creationId xmlns:a16="http://schemas.microsoft.com/office/drawing/2014/main" id="{F0C21AA2-3DE3-66FC-C77B-A05458F9B6B3}"/>
              </a:ext>
            </a:extLst>
          </p:cNvPr>
          <p:cNvSpPr txBox="1"/>
          <p:nvPr/>
        </p:nvSpPr>
        <p:spPr>
          <a:xfrm>
            <a:off x="7729615" y="1558409"/>
            <a:ext cx="4462365" cy="37856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4000" noProof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+mn-lt"/>
                <a:cs typeface="Segoe UI" panose="020B0502040204020203" pitchFamily="34" charset="0"/>
                <a:sym typeface="Segoe UI" panose="020B0502040204020203" pitchFamily="34" charset="0"/>
              </a:rPr>
              <a:t>Hvordan ta i bruk og skalerer KI innen helse og omsorg i kommunal sektor, og som gir reelle gevinster?</a:t>
            </a:r>
            <a:endParaRPr lang="nb-NO" sz="40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78108528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E814F9-783D-0FB0-FCC5-6CB137EB82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3CBBDBB-A7F4-B401-6832-A5BDDAE141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5" imgH="405" progId="TCLayout.ActiveDocument.1">
                  <p:embed/>
                </p:oleObj>
              </mc:Choice>
              <mc:Fallback>
                <p:oleObj name="think-cell Slide" r:id="rId4" imgW="405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CBBDBB-A7F4-B401-6832-A5BDDAE141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AAD58FF1-E4AA-FEC2-BDEE-E27633B6FCC3}"/>
              </a:ext>
            </a:extLst>
          </p:cNvPr>
          <p:cNvGraphicFramePr>
            <a:graphicFrameLocks/>
          </p:cNvGraphicFramePr>
          <p:nvPr/>
        </p:nvGraphicFramePr>
        <p:xfrm>
          <a:off x="2179033" y="1519100"/>
          <a:ext cx="7833938" cy="41855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754A4D8-F70D-43E7-2DC6-E881EEBD3575}"/>
              </a:ext>
            </a:extLst>
          </p:cNvPr>
          <p:cNvCxnSpPr>
            <a:cxnSpLocks/>
          </p:cNvCxnSpPr>
          <p:nvPr/>
        </p:nvCxnSpPr>
        <p:spPr>
          <a:xfrm>
            <a:off x="4836695" y="1479884"/>
            <a:ext cx="276728" cy="360949"/>
          </a:xfrm>
          <a:prstGeom prst="line">
            <a:avLst/>
          </a:prstGeom>
          <a:noFill/>
          <a:ln w="15875" cap="flat" cmpd="sng" algn="ctr">
            <a:solidFill>
              <a:schemeClr val="bg1">
                <a:lumMod val="50000"/>
              </a:schemeClr>
            </a:solidFill>
            <a:prstDash val="solid"/>
            <a:headEnd type="oval"/>
            <a:tailEnd type="none"/>
          </a:ln>
          <a:effectLst/>
        </p:spPr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34EB9970-1E8E-F00E-EF87-33FF636F8BCC}"/>
              </a:ext>
            </a:extLst>
          </p:cNvPr>
          <p:cNvSpPr txBox="1">
            <a:spLocks/>
          </p:cNvSpPr>
          <p:nvPr/>
        </p:nvSpPr>
        <p:spPr>
          <a:xfrm>
            <a:off x="4284370" y="1125538"/>
            <a:ext cx="1057653" cy="22006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006D97"/>
              </a:buClr>
              <a:buSzPct val="70000"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Vet ikke</a:t>
            </a: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856DAE1B-8029-296F-27EF-B35D8C516BA5}"/>
              </a:ext>
            </a:extLst>
          </p:cNvPr>
          <p:cNvCxnSpPr>
            <a:cxnSpLocks/>
          </p:cNvCxnSpPr>
          <p:nvPr/>
        </p:nvCxnSpPr>
        <p:spPr>
          <a:xfrm>
            <a:off x="3308687" y="3924801"/>
            <a:ext cx="745957" cy="0"/>
          </a:xfrm>
          <a:prstGeom prst="line">
            <a:avLst/>
          </a:prstGeom>
          <a:noFill/>
          <a:ln w="15875" cap="flat" cmpd="sng" algn="ctr">
            <a:solidFill>
              <a:srgbClr val="001A58"/>
            </a:solidFill>
            <a:prstDash val="solid"/>
            <a:headEnd type="oval"/>
            <a:tailEnd type="none"/>
          </a:ln>
          <a:effectLst/>
        </p:spPr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DD234F55-142B-5F8C-B29B-DADC7A680B8B}"/>
              </a:ext>
            </a:extLst>
          </p:cNvPr>
          <p:cNvSpPr txBox="1">
            <a:spLocks/>
          </p:cNvSpPr>
          <p:nvPr/>
        </p:nvSpPr>
        <p:spPr>
          <a:xfrm>
            <a:off x="2752349" y="3814771"/>
            <a:ext cx="1057653" cy="22006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006D97"/>
              </a:buClr>
              <a:buSzPct val="70000"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ei</a:t>
            </a: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63F280E-BF8F-8D65-7CB9-2D09F7953E5F}"/>
              </a:ext>
            </a:extLst>
          </p:cNvPr>
          <p:cNvSpPr txBox="1">
            <a:spLocks/>
          </p:cNvSpPr>
          <p:nvPr/>
        </p:nvSpPr>
        <p:spPr>
          <a:xfrm>
            <a:off x="9243890" y="4463717"/>
            <a:ext cx="1362453" cy="22006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006D97"/>
              </a:buClr>
              <a:buSzPct val="70000"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Ja</a:t>
            </a: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BB21AAA1-15BF-B872-8B68-80FE8DE6C348}"/>
              </a:ext>
            </a:extLst>
          </p:cNvPr>
          <p:cNvCxnSpPr>
            <a:cxnSpLocks/>
          </p:cNvCxnSpPr>
          <p:nvPr/>
        </p:nvCxnSpPr>
        <p:spPr>
          <a:xfrm rot="10800000">
            <a:off x="8045617" y="4277226"/>
            <a:ext cx="942975" cy="276225"/>
          </a:xfrm>
          <a:prstGeom prst="line">
            <a:avLst/>
          </a:prstGeom>
          <a:noFill/>
          <a:ln w="15875" cap="flat" cmpd="sng" algn="ctr">
            <a:solidFill>
              <a:srgbClr val="5F94DB"/>
            </a:solidFill>
            <a:prstDash val="solid"/>
            <a:headEnd type="oval"/>
            <a:tailEnd type="none"/>
          </a:ln>
          <a:effectLst/>
        </p:spPr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90BD71F7-B696-64FE-E032-A9AB412F5A21}"/>
              </a:ext>
            </a:extLst>
          </p:cNvPr>
          <p:cNvSpPr txBox="1"/>
          <p:nvPr/>
        </p:nvSpPr>
        <p:spPr>
          <a:xfrm>
            <a:off x="8249478" y="5685032"/>
            <a:ext cx="3358322" cy="427809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006D97"/>
              </a:buClr>
              <a:buSzPct val="70000"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283 deltakere</a:t>
            </a:r>
          </a:p>
          <a:p>
            <a:pPr marL="0" marR="0" lvl="0" indent="0" algn="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006D97"/>
              </a:buClr>
              <a:buSzPct val="70000"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170 kommuner </a:t>
            </a: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id="{69C9E25B-5767-F5A2-BF66-4B3DE6BDEAAC}"/>
              </a:ext>
            </a:extLst>
          </p:cNvPr>
          <p:cNvSpPr txBox="1">
            <a:spLocks/>
          </p:cNvSpPr>
          <p:nvPr/>
        </p:nvSpPr>
        <p:spPr>
          <a:xfrm>
            <a:off x="590551" y="387520"/>
            <a:ext cx="10496550" cy="59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3486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400" b="1" kern="1200">
                <a:solidFill>
                  <a:schemeClr val="bg2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marL="0" marR="0" lvl="0" indent="0" algn="l" defTabSz="913486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j-ea"/>
                <a:cs typeface="Segoe UI" panose="020B0502040204020203" pitchFamily="34" charset="0"/>
              </a:rPr>
              <a:t>Hvem har tatt i bruk KI?</a:t>
            </a:r>
          </a:p>
        </p:txBody>
      </p:sp>
    </p:spTree>
    <p:extLst>
      <p:ext uri="{BB962C8B-B14F-4D97-AF65-F5344CB8AC3E}">
        <p14:creationId xmlns:p14="http://schemas.microsoft.com/office/powerpoint/2010/main" val="22098088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936B78-ED65-7EC4-C155-0FE4C40D44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9" name="think-cell data - do not delete" hidden="1">
            <a:extLst>
              <a:ext uri="{FF2B5EF4-FFF2-40B4-BE49-F238E27FC236}">
                <a16:creationId xmlns:a16="http://schemas.microsoft.com/office/drawing/2014/main" id="{7F93AE97-6E60-D028-FE2D-DF60EF1B59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5" imgH="405" progId="TCLayout.ActiveDocument.1">
                  <p:embed/>
                </p:oleObj>
              </mc:Choice>
              <mc:Fallback>
                <p:oleObj name="think-cell Slide" r:id="rId4" imgW="405" imgH="405" progId="TCLayout.ActiveDocument.1">
                  <p:embed/>
                  <p:pic>
                    <p:nvPicPr>
                      <p:cNvPr id="17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93AE97-6E60-D028-FE2D-DF60EF1B59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34C67F3-8B3C-172C-E411-DEC41F325EB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53143" y="694548"/>
            <a:ext cx="10496550" cy="590550"/>
          </a:xfrm>
        </p:spPr>
        <p:txBody>
          <a:bodyPr vert="horz">
            <a:normAutofit fontScale="90000"/>
          </a:bodyPr>
          <a:lstStyle/>
          <a:p>
            <a:r>
              <a:rPr lang="nb-NO" b="1" noProof="0" dirty="0"/>
              <a:t>Fem bruksområder</a:t>
            </a: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823931B7-9B30-8946-8435-617530A98EAA}"/>
              </a:ext>
            </a:extLst>
          </p:cNvPr>
          <p:cNvSpPr txBox="1">
            <a:spLocks/>
          </p:cNvSpPr>
          <p:nvPr/>
        </p:nvSpPr>
        <p:spPr>
          <a:xfrm>
            <a:off x="3023965" y="2608176"/>
            <a:ext cx="1490886" cy="50783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006D97"/>
              </a:buClr>
              <a:buSzPct val="70000"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srgbClr val="001A58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ale-gjenkjenning</a:t>
            </a:r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id="{5835DD0A-549A-4BFC-8926-F1ECF5412AD7}"/>
              </a:ext>
            </a:extLst>
          </p:cNvPr>
          <p:cNvSpPr txBox="1">
            <a:spLocks/>
          </p:cNvSpPr>
          <p:nvPr/>
        </p:nvSpPr>
        <p:spPr>
          <a:xfrm>
            <a:off x="752920" y="2608176"/>
            <a:ext cx="1490886" cy="58477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006D97"/>
              </a:buClr>
              <a:buSzPct val="70000"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srgbClr val="001A58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ute-</a:t>
            </a:r>
          </a:p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006D97"/>
              </a:buClr>
              <a:buSzPct val="70000"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srgbClr val="001A58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lanlegging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29F106D4-9A63-3AA9-44CF-5837E941E2F4}"/>
              </a:ext>
            </a:extLst>
          </p:cNvPr>
          <p:cNvSpPr txBox="1">
            <a:spLocks/>
          </p:cNvSpPr>
          <p:nvPr/>
        </p:nvSpPr>
        <p:spPr>
          <a:xfrm>
            <a:off x="5295010" y="2608176"/>
            <a:ext cx="1490886" cy="58477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006D97"/>
              </a:buClr>
              <a:buSzPct val="70000"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srgbClr val="001A58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emannings-</a:t>
            </a:r>
          </a:p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006D97"/>
              </a:buClr>
              <a:buSzPct val="70000"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srgbClr val="001A58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lanlegging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2ECDE4A6-5F2B-A5B4-6EDC-93FC23EDA7C1}"/>
              </a:ext>
            </a:extLst>
          </p:cNvPr>
          <p:cNvSpPr txBox="1">
            <a:spLocks/>
          </p:cNvSpPr>
          <p:nvPr/>
        </p:nvSpPr>
        <p:spPr>
          <a:xfrm>
            <a:off x="7566055" y="2608176"/>
            <a:ext cx="1490886" cy="272382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006D97"/>
              </a:buClr>
              <a:buSzPct val="70000"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srgbClr val="001A58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riagering</a:t>
            </a:r>
          </a:p>
        </p:txBody>
      </p:sp>
      <p:sp>
        <p:nvSpPr>
          <p:cNvPr id="177" name="TextBox 176">
            <a:extLst>
              <a:ext uri="{FF2B5EF4-FFF2-40B4-BE49-F238E27FC236}">
                <a16:creationId xmlns:a16="http://schemas.microsoft.com/office/drawing/2014/main" id="{8E239167-D71A-EE20-F3CF-FE7F0085E625}"/>
              </a:ext>
            </a:extLst>
          </p:cNvPr>
          <p:cNvSpPr txBox="1">
            <a:spLocks/>
          </p:cNvSpPr>
          <p:nvPr/>
        </p:nvSpPr>
        <p:spPr>
          <a:xfrm>
            <a:off x="9837100" y="2608176"/>
            <a:ext cx="1490886" cy="272382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006D97"/>
              </a:buClr>
              <a:buSzPct val="70000"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srgbClr val="001A58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rediksjon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292B9676-D2D0-884B-47E5-5F7C5065759E}"/>
              </a:ext>
            </a:extLst>
          </p:cNvPr>
          <p:cNvSpPr>
            <a:spLocks/>
          </p:cNvSpPr>
          <p:nvPr/>
        </p:nvSpPr>
        <p:spPr>
          <a:xfrm>
            <a:off x="752920" y="3506114"/>
            <a:ext cx="947203" cy="947203"/>
          </a:xfrm>
          <a:prstGeom prst="ellipse">
            <a:avLst/>
          </a:prstGeom>
          <a:gradFill>
            <a:gsLst>
              <a:gs pos="0">
                <a:srgbClr val="2A69BD"/>
              </a:gs>
              <a:gs pos="100000">
                <a:srgbClr val="001A58"/>
              </a:gs>
            </a:gsLst>
            <a:lin ang="7200000" scaled="0"/>
          </a:gra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08000" tIns="108000" rIns="108000" bIns="108000" rtlCol="0" anchor="t" anchorCtr="0"/>
          <a:lstStyle/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2A69B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2000" b="0" i="0" u="none" strike="noStrike" kern="0" cap="none" spc="0" normalizeH="0" baseline="0" noProof="0">
              <a:ln>
                <a:noFill/>
              </a:ln>
              <a:solidFill>
                <a:srgbClr val="1A1A24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0FA46AE-2585-8C29-8E1C-39470AE39DC3}"/>
              </a:ext>
            </a:extLst>
          </p:cNvPr>
          <p:cNvGrpSpPr/>
          <p:nvPr/>
        </p:nvGrpSpPr>
        <p:grpSpPr>
          <a:xfrm>
            <a:off x="3023965" y="3506114"/>
            <a:ext cx="947203" cy="947203"/>
            <a:chOff x="3023965" y="3506114"/>
            <a:chExt cx="947203" cy="947203"/>
          </a:xfrm>
        </p:grpSpPr>
        <p:sp>
          <p:nvSpPr>
            <p:cNvPr id="186" name="Oval 185">
              <a:extLst>
                <a:ext uri="{FF2B5EF4-FFF2-40B4-BE49-F238E27FC236}">
                  <a16:creationId xmlns:a16="http://schemas.microsoft.com/office/drawing/2014/main" id="{FF479EC6-FD33-B553-ADB9-85AE7391AFBD}"/>
                </a:ext>
              </a:extLst>
            </p:cNvPr>
            <p:cNvSpPr>
              <a:spLocks/>
            </p:cNvSpPr>
            <p:nvPr/>
          </p:nvSpPr>
          <p:spPr>
            <a:xfrm>
              <a:off x="3023965" y="3506114"/>
              <a:ext cx="947203" cy="947203"/>
            </a:xfrm>
            <a:prstGeom prst="ellipse">
              <a:avLst/>
            </a:prstGeom>
            <a:gradFill>
              <a:gsLst>
                <a:gs pos="0">
                  <a:srgbClr val="1E9CD7"/>
                </a:gs>
                <a:gs pos="100000">
                  <a:srgbClr val="2A69BD"/>
                </a:gs>
              </a:gsLst>
              <a:lin ang="7200000" scaled="0"/>
            </a:gradFill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108000" tIns="108000" rIns="108000" bIns="108000" rtlCol="0" anchor="t" anchorCtr="0"/>
            <a:lstStyle/>
            <a:p>
              <a:pPr marL="342900" marR="0" lvl="0" indent="-342900" algn="l" defTabSz="914400" rtl="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2A69BD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nb-NO" sz="20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pic>
          <p:nvPicPr>
            <p:cNvPr id="118" name="Graphic 117" descr="Radio microphone with solid fill">
              <a:extLst>
                <a:ext uri="{FF2B5EF4-FFF2-40B4-BE49-F238E27FC236}">
                  <a16:creationId xmlns:a16="http://schemas.microsoft.com/office/drawing/2014/main" id="{929AB26A-9E1A-AE75-D117-F5EC6BD5D1F6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193589" y="3675738"/>
              <a:ext cx="607956" cy="607956"/>
            </a:xfrm>
            <a:prstGeom prst="rect">
              <a:avLst/>
            </a:prstGeom>
            <a:effectLst/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6CE5F996-9653-48C0-465E-69AFA5D9C1C1}"/>
              </a:ext>
            </a:extLst>
          </p:cNvPr>
          <p:cNvGrpSpPr/>
          <p:nvPr/>
        </p:nvGrpSpPr>
        <p:grpSpPr>
          <a:xfrm>
            <a:off x="5295010" y="3506114"/>
            <a:ext cx="947203" cy="947203"/>
            <a:chOff x="5295010" y="3506114"/>
            <a:chExt cx="947203" cy="947203"/>
          </a:xfrm>
        </p:grpSpPr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FC6D02F7-26DA-FBAB-0F69-04A8C05D1E0A}"/>
                </a:ext>
              </a:extLst>
            </p:cNvPr>
            <p:cNvSpPr>
              <a:spLocks/>
            </p:cNvSpPr>
            <p:nvPr/>
          </p:nvSpPr>
          <p:spPr>
            <a:xfrm>
              <a:off x="5295010" y="3506114"/>
              <a:ext cx="947203" cy="947203"/>
            </a:xfrm>
            <a:prstGeom prst="ellipse">
              <a:avLst/>
            </a:prstGeom>
            <a:gradFill>
              <a:gsLst>
                <a:gs pos="0">
                  <a:srgbClr val="8CB6BA"/>
                </a:gs>
                <a:gs pos="100000">
                  <a:srgbClr val="1E9CD7"/>
                </a:gs>
              </a:gsLst>
              <a:lin ang="7200000" scaled="0"/>
            </a:gradFill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108000" tIns="108000" rIns="108000" bIns="108000" rtlCol="0" anchor="t" anchorCtr="0"/>
            <a:lstStyle/>
            <a:p>
              <a:pPr marL="342900" marR="0" lvl="0" indent="-342900" algn="l" defTabSz="914400" rtl="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2A69BD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nb-NO" sz="20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pic>
          <p:nvPicPr>
            <p:cNvPr id="159" name="Graphic 158" descr="Monthly calendar with solid fill">
              <a:extLst>
                <a:ext uri="{FF2B5EF4-FFF2-40B4-BE49-F238E27FC236}">
                  <a16:creationId xmlns:a16="http://schemas.microsoft.com/office/drawing/2014/main" id="{047F29D4-3704-B24B-0AD6-5DB6D2078B65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469714" y="3680818"/>
              <a:ext cx="607956" cy="607956"/>
            </a:xfrm>
            <a:prstGeom prst="rect">
              <a:avLst/>
            </a:prstGeom>
            <a:effectLst/>
          </p:spPr>
        </p:pic>
      </p:grpSp>
      <p:pic>
        <p:nvPicPr>
          <p:cNvPr id="180" name="Graphic 179" descr="Route (Two Pins With A Path) with solid fill">
            <a:extLst>
              <a:ext uri="{FF2B5EF4-FFF2-40B4-BE49-F238E27FC236}">
                <a16:creationId xmlns:a16="http://schemas.microsoft.com/office/drawing/2014/main" id="{141D26BA-88F9-98E6-16C3-95C657453270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22544" y="3675738"/>
            <a:ext cx="607956" cy="607956"/>
          </a:xfrm>
          <a:prstGeom prst="rect">
            <a:avLst/>
          </a:prstGeom>
          <a:effectLst/>
        </p:spPr>
      </p:pic>
      <p:sp>
        <p:nvSpPr>
          <p:cNvPr id="192" name="Oval 191">
            <a:extLst>
              <a:ext uri="{FF2B5EF4-FFF2-40B4-BE49-F238E27FC236}">
                <a16:creationId xmlns:a16="http://schemas.microsoft.com/office/drawing/2014/main" id="{79230B20-D512-0B77-9384-56F73CBCD41B}"/>
              </a:ext>
            </a:extLst>
          </p:cNvPr>
          <p:cNvSpPr>
            <a:spLocks/>
          </p:cNvSpPr>
          <p:nvPr/>
        </p:nvSpPr>
        <p:spPr>
          <a:xfrm>
            <a:off x="7566055" y="3506114"/>
            <a:ext cx="947203" cy="947203"/>
          </a:xfrm>
          <a:prstGeom prst="ellipse">
            <a:avLst/>
          </a:prstGeom>
          <a:gradFill>
            <a:gsLst>
              <a:gs pos="0">
                <a:srgbClr val="00807C"/>
              </a:gs>
              <a:gs pos="100000">
                <a:srgbClr val="8CB6BA"/>
              </a:gs>
            </a:gsLst>
            <a:lin ang="7200000" scaled="0"/>
          </a:gra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08000" tIns="108000" rIns="108000" bIns="108000" rtlCol="0" anchor="t" anchorCtr="0"/>
          <a:lstStyle/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2A69B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2000" b="0" i="0" u="none" strike="noStrike" kern="0" cap="none" spc="0" normalizeH="0" baseline="0" noProof="0">
              <a:ln>
                <a:noFill/>
              </a:ln>
              <a:solidFill>
                <a:srgbClr val="1A1A24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171" name="Graphic 170" descr="Playbook with solid fill">
            <a:extLst>
              <a:ext uri="{FF2B5EF4-FFF2-40B4-BE49-F238E27FC236}">
                <a16:creationId xmlns:a16="http://schemas.microsoft.com/office/drawing/2014/main" id="{10B0D397-B5E8-67E1-836E-3D3A47AAF3F8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735679" y="3675738"/>
            <a:ext cx="607956" cy="607956"/>
          </a:xfrm>
          <a:prstGeom prst="rect">
            <a:avLst/>
          </a:prstGeom>
          <a:effectLst/>
        </p:spPr>
      </p:pic>
      <p:sp>
        <p:nvSpPr>
          <p:cNvPr id="195" name="Oval 194">
            <a:extLst>
              <a:ext uri="{FF2B5EF4-FFF2-40B4-BE49-F238E27FC236}">
                <a16:creationId xmlns:a16="http://schemas.microsoft.com/office/drawing/2014/main" id="{D000AD44-CCE4-CB89-070C-69625BC01A79}"/>
              </a:ext>
            </a:extLst>
          </p:cNvPr>
          <p:cNvSpPr>
            <a:spLocks/>
          </p:cNvSpPr>
          <p:nvPr/>
        </p:nvSpPr>
        <p:spPr>
          <a:xfrm>
            <a:off x="9837100" y="3506114"/>
            <a:ext cx="947203" cy="947203"/>
          </a:xfrm>
          <a:prstGeom prst="ellipse">
            <a:avLst/>
          </a:prstGeom>
          <a:gradFill>
            <a:gsLst>
              <a:gs pos="100000">
                <a:srgbClr val="00807C"/>
              </a:gs>
              <a:gs pos="0">
                <a:srgbClr val="004240"/>
              </a:gs>
            </a:gsLst>
            <a:lin ang="7200000" scaled="0"/>
          </a:gra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08000" tIns="108000" rIns="108000" bIns="108000" rtlCol="0" anchor="t" anchorCtr="0"/>
          <a:lstStyle/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2A69B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2000" b="0" i="0" u="none" strike="noStrike" kern="0" cap="none" spc="0" normalizeH="0" baseline="0" noProof="0">
              <a:ln>
                <a:noFill/>
              </a:ln>
              <a:solidFill>
                <a:srgbClr val="1A1A24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178" name="Graphic 177" descr="Upward trend with solid fill">
            <a:extLst>
              <a:ext uri="{FF2B5EF4-FFF2-40B4-BE49-F238E27FC236}">
                <a16:creationId xmlns:a16="http://schemas.microsoft.com/office/drawing/2014/main" id="{91798400-AFCC-3EA0-AF45-4D48AFA7129A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06724" y="3675738"/>
            <a:ext cx="607956" cy="607956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75989803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A2A917-DFDF-634D-BA1E-F5F678A491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05A50B8-864C-6EF6-A6C3-7F44F786D5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5" imgH="405" progId="TCLayout.ActiveDocument.1">
                  <p:embed/>
                </p:oleObj>
              </mc:Choice>
              <mc:Fallback>
                <p:oleObj name="think-cell Slide" r:id="rId4" imgW="405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05A50B8-864C-6EF6-A6C3-7F44F786D5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Oval 45">
            <a:extLst>
              <a:ext uri="{FF2B5EF4-FFF2-40B4-BE49-F238E27FC236}">
                <a16:creationId xmlns:a16="http://schemas.microsoft.com/office/drawing/2014/main" id="{0AD35189-4CB2-2ABB-E81A-A2AB6C5A99C3}"/>
              </a:ext>
            </a:extLst>
          </p:cNvPr>
          <p:cNvSpPr>
            <a:spLocks/>
          </p:cNvSpPr>
          <p:nvPr/>
        </p:nvSpPr>
        <p:spPr>
          <a:xfrm>
            <a:off x="5557007" y="2017637"/>
            <a:ext cx="517100" cy="517100"/>
          </a:xfrm>
          <a:prstGeom prst="ellipse">
            <a:avLst/>
          </a:prstGeom>
          <a:gradFill>
            <a:gsLst>
              <a:gs pos="0">
                <a:srgbClr val="1E9CD7"/>
              </a:gs>
              <a:gs pos="100000">
                <a:srgbClr val="2A69BD"/>
              </a:gs>
            </a:gsLst>
            <a:lin ang="7200000" scaled="0"/>
          </a:gra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08000" tIns="108000" rIns="108000" bIns="108000" rtlCol="0" anchor="t" anchorCtr="0"/>
          <a:lstStyle/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2A69B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2000" b="0" i="0" u="none" strike="noStrike" kern="0" cap="none" spc="0" normalizeH="0" baseline="0" noProof="0">
              <a:ln>
                <a:noFill/>
              </a:ln>
              <a:solidFill>
                <a:srgbClr val="1A1A24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6B2045-3911-B98D-D5F8-85487A52A29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8126" y="238477"/>
            <a:ext cx="10496550" cy="590550"/>
          </a:xfrm>
        </p:spPr>
        <p:txBody>
          <a:bodyPr vert="horz">
            <a:normAutofit fontScale="90000"/>
          </a:bodyPr>
          <a:lstStyle/>
          <a:p>
            <a:r>
              <a:rPr lang="nb-NO" b="1" noProof="0" dirty="0"/>
              <a:t>To bruksområder anbefales for skalering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35566C63-0BC8-6813-3644-487A9441ACC5}"/>
              </a:ext>
            </a:extLst>
          </p:cNvPr>
          <p:cNvCxnSpPr>
            <a:cxnSpLocks/>
          </p:cNvCxnSpPr>
          <p:nvPr/>
        </p:nvCxnSpPr>
        <p:spPr>
          <a:xfrm>
            <a:off x="3852780" y="5903284"/>
            <a:ext cx="4680000" cy="0"/>
          </a:xfrm>
          <a:prstGeom prst="straightConnector1">
            <a:avLst/>
          </a:prstGeom>
          <a:noFill/>
          <a:ln w="12700" cap="flat" cmpd="sng" algn="ctr">
            <a:solidFill>
              <a:srgbClr val="1A1A24"/>
            </a:solidFill>
            <a:prstDash val="solid"/>
            <a:headEnd type="none" w="med" len="med"/>
            <a:tailEnd type="arrow" w="med" len="med"/>
          </a:ln>
          <a:effectLst/>
        </p:spPr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15AD170-9E9B-FD52-7441-EB1D12DFEE4A}"/>
              </a:ext>
            </a:extLst>
          </p:cNvPr>
          <p:cNvCxnSpPr>
            <a:cxnSpLocks/>
          </p:cNvCxnSpPr>
          <p:nvPr/>
        </p:nvCxnSpPr>
        <p:spPr>
          <a:xfrm>
            <a:off x="6192780" y="1343245"/>
            <a:ext cx="0" cy="4526635"/>
          </a:xfrm>
          <a:prstGeom prst="line">
            <a:avLst/>
          </a:prstGeom>
          <a:noFill/>
          <a:ln w="12700" cap="flat" cmpd="sng" algn="ctr">
            <a:solidFill>
              <a:srgbClr val="B2C9E8"/>
            </a:solidFill>
            <a:prstDash val="dash"/>
            <a:tailEnd type="none"/>
          </a:ln>
          <a:effectLst/>
        </p:spPr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B927B2E4-615A-AE91-D467-6BC4219F1F7C}"/>
              </a:ext>
            </a:extLst>
          </p:cNvPr>
          <p:cNvSpPr txBox="1"/>
          <p:nvPr/>
        </p:nvSpPr>
        <p:spPr>
          <a:xfrm rot="16200000">
            <a:off x="3345930" y="3438844"/>
            <a:ext cx="600332" cy="286232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2A69BD"/>
              </a:buClr>
              <a:buSzPct val="100000"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rPr>
              <a:t>Verdi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6A3AA9F-34A6-89CB-251B-C1BBA1D32E81}"/>
              </a:ext>
            </a:extLst>
          </p:cNvPr>
          <p:cNvSpPr txBox="1">
            <a:spLocks/>
          </p:cNvSpPr>
          <p:nvPr/>
        </p:nvSpPr>
        <p:spPr>
          <a:xfrm>
            <a:off x="5265312" y="5948532"/>
            <a:ext cx="1669259" cy="286232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2A69BD"/>
              </a:buClr>
              <a:buSzPct val="100000"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rPr>
              <a:t>Kompleksite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6419BEA-C127-6812-4B8C-F6402E210ABD}"/>
              </a:ext>
            </a:extLst>
          </p:cNvPr>
          <p:cNvSpPr txBox="1">
            <a:spLocks/>
          </p:cNvSpPr>
          <p:nvPr/>
        </p:nvSpPr>
        <p:spPr>
          <a:xfrm>
            <a:off x="3974667" y="5513201"/>
            <a:ext cx="2091492" cy="230832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2A69BD"/>
              </a:buClr>
              <a:buSzPct val="100000"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rPr>
              <a:t>Lavthengende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rPr>
              <a:t> frukte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DAE1170-93F3-76EE-8005-73B71A33BC0A}"/>
              </a:ext>
            </a:extLst>
          </p:cNvPr>
          <p:cNvSpPr txBox="1">
            <a:spLocks/>
          </p:cNvSpPr>
          <p:nvPr/>
        </p:nvSpPr>
        <p:spPr>
          <a:xfrm>
            <a:off x="4575922" y="3320243"/>
            <a:ext cx="888982" cy="230832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2A69BD"/>
              </a:buClr>
              <a:buSzPct val="100000"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rPr>
              <a:t>Enkle må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700A3F6-BEA5-BF15-B979-AC14A987A9A8}"/>
              </a:ext>
            </a:extLst>
          </p:cNvPr>
          <p:cNvSpPr txBox="1">
            <a:spLocks/>
          </p:cNvSpPr>
          <p:nvPr/>
        </p:nvSpPr>
        <p:spPr>
          <a:xfrm>
            <a:off x="6064398" y="3320243"/>
            <a:ext cx="2628014" cy="230832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2A69BD"/>
              </a:buClr>
              <a:buSzPct val="100000"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rPr>
              <a:t>Månelandinge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7A2878F-17CF-8601-3103-63025AF3EBBA}"/>
              </a:ext>
            </a:extLst>
          </p:cNvPr>
          <p:cNvSpPr txBox="1">
            <a:spLocks/>
          </p:cNvSpPr>
          <p:nvPr/>
        </p:nvSpPr>
        <p:spPr>
          <a:xfrm>
            <a:off x="6305222" y="5513201"/>
            <a:ext cx="2146366" cy="230832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2A69BD"/>
              </a:buClr>
              <a:buSzPct val="100000"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rPr>
              <a:t>Hygienefaktorer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FDB32FBD-2F03-DA24-3E4A-CD66478D38AA}"/>
              </a:ext>
            </a:extLst>
          </p:cNvPr>
          <p:cNvCxnSpPr>
            <a:cxnSpLocks/>
          </p:cNvCxnSpPr>
          <p:nvPr/>
        </p:nvCxnSpPr>
        <p:spPr>
          <a:xfrm rot="16200000">
            <a:off x="1512780" y="3566485"/>
            <a:ext cx="4680000" cy="0"/>
          </a:xfrm>
          <a:prstGeom prst="straightConnector1">
            <a:avLst/>
          </a:prstGeom>
          <a:noFill/>
          <a:ln w="12700" cap="flat" cmpd="sng" algn="ctr">
            <a:solidFill>
              <a:srgbClr val="1A1A24"/>
            </a:solidFill>
            <a:prstDash val="solid"/>
            <a:headEnd type="none" w="med" len="med"/>
            <a:tailEnd type="arrow" w="med" len="med"/>
          </a:ln>
          <a:effectLst/>
        </p:spPr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E3E0A672-C430-1F9D-E112-DFED9B61B47D}"/>
              </a:ext>
            </a:extLst>
          </p:cNvPr>
          <p:cNvCxnSpPr>
            <a:cxnSpLocks/>
          </p:cNvCxnSpPr>
          <p:nvPr/>
        </p:nvCxnSpPr>
        <p:spPr>
          <a:xfrm rot="5400000">
            <a:off x="6192780" y="1343245"/>
            <a:ext cx="0" cy="4526635"/>
          </a:xfrm>
          <a:prstGeom prst="line">
            <a:avLst/>
          </a:prstGeom>
          <a:noFill/>
          <a:ln w="12700" cap="flat" cmpd="sng" algn="ctr">
            <a:solidFill>
              <a:srgbClr val="B2C9E8"/>
            </a:solidFill>
            <a:prstDash val="dash"/>
            <a:tailEnd type="none"/>
          </a:ln>
          <a:effectLst/>
        </p:spPr>
      </p:cxnSp>
      <p:sp>
        <p:nvSpPr>
          <p:cNvPr id="25" name="Oval 24">
            <a:extLst>
              <a:ext uri="{FF2B5EF4-FFF2-40B4-BE49-F238E27FC236}">
                <a16:creationId xmlns:a16="http://schemas.microsoft.com/office/drawing/2014/main" id="{D78223FA-CD9D-FE26-8D09-30DFFECE0F0C}"/>
              </a:ext>
            </a:extLst>
          </p:cNvPr>
          <p:cNvSpPr>
            <a:spLocks/>
          </p:cNvSpPr>
          <p:nvPr/>
        </p:nvSpPr>
        <p:spPr>
          <a:xfrm>
            <a:off x="5603799" y="3391750"/>
            <a:ext cx="517100" cy="517100"/>
          </a:xfrm>
          <a:prstGeom prst="ellipse">
            <a:avLst/>
          </a:prstGeom>
          <a:gradFill>
            <a:gsLst>
              <a:gs pos="0">
                <a:srgbClr val="2A69BD"/>
              </a:gs>
              <a:gs pos="100000">
                <a:srgbClr val="001A58"/>
              </a:gs>
            </a:gsLst>
            <a:lin ang="7200000" scaled="0"/>
          </a:gra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08000" tIns="108000" rIns="108000" bIns="108000" rtlCol="0" anchor="t" anchorCtr="0"/>
          <a:lstStyle/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2A69B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2000" b="0" i="0" u="none" strike="noStrike" kern="0" cap="none" spc="0" normalizeH="0" baseline="0" noProof="0">
              <a:ln>
                <a:noFill/>
              </a:ln>
              <a:solidFill>
                <a:srgbClr val="1A1A24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26" name="Graphic 25" descr="Radio microphone with solid fill">
            <a:extLst>
              <a:ext uri="{FF2B5EF4-FFF2-40B4-BE49-F238E27FC236}">
                <a16:creationId xmlns:a16="http://schemas.microsoft.com/office/drawing/2014/main" id="{61358249-A664-59B0-1C48-C626E4001E35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49608" y="2110238"/>
            <a:ext cx="331897" cy="331897"/>
          </a:xfrm>
          <a:prstGeom prst="rect">
            <a:avLst/>
          </a:prstGeom>
          <a:effectLst/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777CCCAD-2F4C-C7B0-F2EF-BB5AA95AB3FC}"/>
              </a:ext>
            </a:extLst>
          </p:cNvPr>
          <p:cNvGrpSpPr/>
          <p:nvPr/>
        </p:nvGrpSpPr>
        <p:grpSpPr>
          <a:xfrm>
            <a:off x="4917659" y="2728326"/>
            <a:ext cx="517100" cy="517100"/>
            <a:chOff x="4917659" y="2728326"/>
            <a:chExt cx="517100" cy="517100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BEF5FCEB-372E-24F7-D5AE-6383C5E1447B}"/>
                </a:ext>
              </a:extLst>
            </p:cNvPr>
            <p:cNvSpPr>
              <a:spLocks/>
            </p:cNvSpPr>
            <p:nvPr/>
          </p:nvSpPr>
          <p:spPr>
            <a:xfrm>
              <a:off x="4917659" y="2728326"/>
              <a:ext cx="517100" cy="517100"/>
            </a:xfrm>
            <a:prstGeom prst="ellipse">
              <a:avLst/>
            </a:prstGeom>
            <a:gradFill>
              <a:gsLst>
                <a:gs pos="0">
                  <a:srgbClr val="8CB6BA"/>
                </a:gs>
                <a:gs pos="100000">
                  <a:srgbClr val="1E9CD7"/>
                </a:gs>
              </a:gsLst>
              <a:lin ang="7200000" scaled="0"/>
            </a:gradFill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108000" tIns="108000" rIns="108000" bIns="108000" rtlCol="0" anchor="t" anchorCtr="0"/>
            <a:lstStyle/>
            <a:p>
              <a:pPr marL="342900" marR="0" lvl="0" indent="-342900" algn="l" defTabSz="914400" rtl="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2A69BD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nb-NO" sz="20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pic>
          <p:nvPicPr>
            <p:cNvPr id="29" name="Graphic 28" descr="Monthly calendar with solid fill">
              <a:extLst>
                <a:ext uri="{FF2B5EF4-FFF2-40B4-BE49-F238E27FC236}">
                  <a16:creationId xmlns:a16="http://schemas.microsoft.com/office/drawing/2014/main" id="{C67BD581-1760-8001-6642-6BB8CCE7FDB9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010261" y="2820928"/>
              <a:ext cx="331897" cy="331897"/>
            </a:xfrm>
            <a:prstGeom prst="rect">
              <a:avLst/>
            </a:prstGeom>
            <a:effectLst/>
          </p:spPr>
        </p:pic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D35AC2E5-9FF0-6E04-316B-8FB4ACFF85CA}"/>
              </a:ext>
            </a:extLst>
          </p:cNvPr>
          <p:cNvGrpSpPr>
            <a:grpSpLocks/>
          </p:cNvGrpSpPr>
          <p:nvPr/>
        </p:nvGrpSpPr>
        <p:grpSpPr>
          <a:xfrm>
            <a:off x="6471234" y="2511850"/>
            <a:ext cx="517100" cy="517100"/>
            <a:chOff x="6471235" y="2511850"/>
            <a:chExt cx="517100" cy="517100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280A2B2E-F469-1F33-F0A8-60A447A4A9FD}"/>
                </a:ext>
              </a:extLst>
            </p:cNvPr>
            <p:cNvSpPr>
              <a:spLocks/>
            </p:cNvSpPr>
            <p:nvPr/>
          </p:nvSpPr>
          <p:spPr>
            <a:xfrm>
              <a:off x="6471235" y="2511850"/>
              <a:ext cx="517100" cy="517100"/>
            </a:xfrm>
            <a:prstGeom prst="ellipse">
              <a:avLst/>
            </a:prstGeom>
            <a:gradFill>
              <a:gsLst>
                <a:gs pos="0">
                  <a:srgbClr val="00807C"/>
                </a:gs>
                <a:gs pos="100000">
                  <a:srgbClr val="8CB6BA"/>
                </a:gs>
              </a:gsLst>
              <a:lin ang="7200000" scaled="0"/>
            </a:gradFill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108000" tIns="108000" rIns="108000" bIns="108000" rtlCol="0" anchor="t" anchorCtr="0"/>
            <a:lstStyle/>
            <a:p>
              <a:pPr marL="342900" marR="0" lvl="0" indent="-342900" algn="l" defTabSz="914400" rtl="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2A69BD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nb-NO" sz="20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pic>
          <p:nvPicPr>
            <p:cNvPr id="41" name="Graphic 40" descr="Playbook with solid fill">
              <a:extLst>
                <a:ext uri="{FF2B5EF4-FFF2-40B4-BE49-F238E27FC236}">
                  <a16:creationId xmlns:a16="http://schemas.microsoft.com/office/drawing/2014/main" id="{309AAD6C-1386-803E-6DF5-C362A1EA79BE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563837" y="2604452"/>
              <a:ext cx="331897" cy="331897"/>
            </a:xfrm>
            <a:prstGeom prst="rect">
              <a:avLst/>
            </a:prstGeom>
            <a:effectLst/>
          </p:spPr>
        </p:pic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D29B42E2-19D7-07BE-D14D-DF058D48A061}"/>
              </a:ext>
            </a:extLst>
          </p:cNvPr>
          <p:cNvGrpSpPr>
            <a:grpSpLocks/>
          </p:cNvGrpSpPr>
          <p:nvPr/>
        </p:nvGrpSpPr>
        <p:grpSpPr>
          <a:xfrm>
            <a:off x="7500022" y="2511850"/>
            <a:ext cx="517100" cy="517100"/>
            <a:chOff x="7500022" y="2511850"/>
            <a:chExt cx="517100" cy="517100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F1214866-C001-0C5F-F001-6DCA295758B4}"/>
                </a:ext>
              </a:extLst>
            </p:cNvPr>
            <p:cNvSpPr>
              <a:spLocks/>
            </p:cNvSpPr>
            <p:nvPr/>
          </p:nvSpPr>
          <p:spPr>
            <a:xfrm>
              <a:off x="7500022" y="2511850"/>
              <a:ext cx="517100" cy="517100"/>
            </a:xfrm>
            <a:prstGeom prst="ellipse">
              <a:avLst/>
            </a:prstGeom>
            <a:gradFill>
              <a:gsLst>
                <a:gs pos="100000">
                  <a:srgbClr val="00807C"/>
                </a:gs>
                <a:gs pos="0">
                  <a:srgbClr val="004240"/>
                </a:gs>
              </a:gsLst>
              <a:lin ang="7200000" scaled="0"/>
            </a:gradFill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108000" tIns="108000" rIns="108000" bIns="108000" rtlCol="0" anchor="t" anchorCtr="0"/>
            <a:lstStyle/>
            <a:p>
              <a:pPr marL="342900" marR="0" lvl="0" indent="-342900" algn="l" defTabSz="914400" rtl="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2A69BD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nb-NO" sz="20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pic>
          <p:nvPicPr>
            <p:cNvPr id="44" name="Graphic 43" descr="Upward trend with solid fill">
              <a:extLst>
                <a:ext uri="{FF2B5EF4-FFF2-40B4-BE49-F238E27FC236}">
                  <a16:creationId xmlns:a16="http://schemas.microsoft.com/office/drawing/2014/main" id="{A001B7D0-D3FE-3115-DAAD-62E049731A22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592624" y="2604452"/>
              <a:ext cx="331897" cy="331897"/>
            </a:xfrm>
            <a:prstGeom prst="rect">
              <a:avLst/>
            </a:prstGeom>
            <a:effectLst/>
          </p:spPr>
        </p:pic>
      </p:grpSp>
      <p:pic>
        <p:nvPicPr>
          <p:cNvPr id="47" name="Graphic 46" descr="Route (Two Pins With A Path) with solid fill">
            <a:extLst>
              <a:ext uri="{FF2B5EF4-FFF2-40B4-BE49-F238E27FC236}">
                <a16:creationId xmlns:a16="http://schemas.microsoft.com/office/drawing/2014/main" id="{8D8BB565-B42D-AE06-31B3-78E59AC4A268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696401" y="3484352"/>
            <a:ext cx="331897" cy="331897"/>
          </a:xfrm>
          <a:prstGeom prst="rect">
            <a:avLst/>
          </a:prstGeom>
          <a:effectLst/>
        </p:spPr>
      </p:pic>
      <p:sp>
        <p:nvSpPr>
          <p:cNvPr id="18" name="Oval 17">
            <a:extLst>
              <a:ext uri="{FF2B5EF4-FFF2-40B4-BE49-F238E27FC236}">
                <a16:creationId xmlns:a16="http://schemas.microsoft.com/office/drawing/2014/main" id="{BD38DCFA-C82C-99D3-3BCF-00D33F96CDA4}"/>
              </a:ext>
            </a:extLst>
          </p:cNvPr>
          <p:cNvSpPr>
            <a:spLocks/>
          </p:cNvSpPr>
          <p:nvPr/>
        </p:nvSpPr>
        <p:spPr>
          <a:xfrm>
            <a:off x="5597212" y="3369187"/>
            <a:ext cx="530274" cy="562225"/>
          </a:xfrm>
          <a:prstGeom prst="ellipse">
            <a:avLst/>
          </a:prstGeom>
          <a:solidFill>
            <a:srgbClr val="E9EFF8">
              <a:alpha val="8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E76AB56C-F675-C77C-3599-69849AE931FB}"/>
              </a:ext>
            </a:extLst>
          </p:cNvPr>
          <p:cNvSpPr>
            <a:spLocks/>
          </p:cNvSpPr>
          <p:nvPr/>
        </p:nvSpPr>
        <p:spPr>
          <a:xfrm>
            <a:off x="6455894" y="2479454"/>
            <a:ext cx="547782" cy="581891"/>
          </a:xfrm>
          <a:prstGeom prst="ellipse">
            <a:avLst/>
          </a:prstGeom>
          <a:solidFill>
            <a:srgbClr val="E9EFF8">
              <a:alpha val="8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5996A535-35AE-A896-2A6F-0391F9F641D0}"/>
              </a:ext>
            </a:extLst>
          </p:cNvPr>
          <p:cNvSpPr>
            <a:spLocks/>
          </p:cNvSpPr>
          <p:nvPr/>
        </p:nvSpPr>
        <p:spPr>
          <a:xfrm>
            <a:off x="7484681" y="2479454"/>
            <a:ext cx="547782" cy="581891"/>
          </a:xfrm>
          <a:prstGeom prst="ellipse">
            <a:avLst/>
          </a:prstGeom>
          <a:solidFill>
            <a:srgbClr val="E9EFF8">
              <a:alpha val="8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579472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7BB7BBA-FA1B-39BD-11FD-F79815B492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5" imgH="405" progId="TCLayout.ActiveDocument.1">
                  <p:embed/>
                </p:oleObj>
              </mc:Choice>
              <mc:Fallback>
                <p:oleObj name="think-cell Slide" r:id="rId4" imgW="405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7BB7BBA-FA1B-39BD-11FD-F79815B492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E66A880-25AF-EA5E-7B72-3D9C7BC392F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59838" y="554393"/>
            <a:ext cx="10496550" cy="590550"/>
          </a:xfrm>
        </p:spPr>
        <p:txBody>
          <a:bodyPr vert="horz">
            <a:normAutofit fontScale="90000"/>
          </a:bodyPr>
          <a:lstStyle/>
          <a:p>
            <a:r>
              <a:rPr lang="nb-NO" b="1" noProof="0"/>
              <a:t>Hva slags støtte ønsker kommunene?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9A82CAEF-643F-F24C-4600-E5D22E6E7E02}"/>
              </a:ext>
            </a:extLst>
          </p:cNvPr>
          <p:cNvSpPr>
            <a:spLocks/>
          </p:cNvSpPr>
          <p:nvPr/>
        </p:nvSpPr>
        <p:spPr>
          <a:xfrm>
            <a:off x="590550" y="4446982"/>
            <a:ext cx="11017250" cy="588005"/>
          </a:xfrm>
          <a:prstGeom prst="roundRect">
            <a:avLst/>
          </a:prstGeom>
          <a:solidFill>
            <a:srgbClr val="17448E"/>
          </a:solidFill>
          <a:ln w="12700" cap="flat" cmpd="sng" algn="ctr">
            <a:noFill/>
            <a:prstDash val="dash"/>
            <a:miter lim="800000"/>
            <a:headEnd type="none" w="med" len="med"/>
            <a:tailEnd type="none" w="med" len="med"/>
          </a:ln>
          <a:effectLst/>
        </p:spPr>
        <p:txBody>
          <a:bodyPr lIns="108000" tIns="108000" rIns="108000" bIns="108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FFE600"/>
              </a:buClr>
              <a:buSzTx/>
              <a:buFontTx/>
              <a:buNone/>
              <a:tabLst/>
              <a:defRPr/>
            </a:pPr>
            <a:r>
              <a:rPr kumimoji="0" lang="nb-NO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Nasjonal koordinering</a:t>
            </a:r>
            <a:endParaRPr kumimoji="0" lang="nb-NO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5FFA7F0-4363-E477-B3C5-6CFD46C635E1}"/>
              </a:ext>
            </a:extLst>
          </p:cNvPr>
          <p:cNvGrpSpPr>
            <a:grpSpLocks/>
          </p:cNvGrpSpPr>
          <p:nvPr/>
        </p:nvGrpSpPr>
        <p:grpSpPr>
          <a:xfrm>
            <a:off x="2913019" y="2168191"/>
            <a:ext cx="1850024" cy="2571495"/>
            <a:chOff x="2771269" y="2168191"/>
            <a:chExt cx="1850024" cy="2571495"/>
          </a:xfrm>
        </p:grpSpPr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8E053A78-D6F6-177E-FB3F-66642F361DF7}"/>
                </a:ext>
              </a:extLst>
            </p:cNvPr>
            <p:cNvSpPr>
              <a:spLocks/>
            </p:cNvSpPr>
            <p:nvPr/>
          </p:nvSpPr>
          <p:spPr>
            <a:xfrm>
              <a:off x="2771269" y="2880552"/>
              <a:ext cx="1850024" cy="1859134"/>
            </a:xfrm>
            <a:prstGeom prst="round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108000" tIns="108000" rIns="108000" bIns="10800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FFE600"/>
                </a:buClr>
                <a:buSzTx/>
                <a:buFontTx/>
                <a:buNone/>
                <a:tabLst/>
                <a:defRPr/>
              </a:pPr>
              <a:r>
                <a:rPr kumimoji="0" lang="nb-NO" sz="1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Juridisk støtte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3B91E546-11CC-16B3-06C8-00BE74FABCED}"/>
                </a:ext>
              </a:extLst>
            </p:cNvPr>
            <p:cNvGrpSpPr>
              <a:grpSpLocks/>
            </p:cNvGrpSpPr>
            <p:nvPr/>
          </p:nvGrpSpPr>
          <p:grpSpPr>
            <a:xfrm>
              <a:off x="3104596" y="2168191"/>
              <a:ext cx="1183371" cy="1183371"/>
              <a:chOff x="3268157" y="2426263"/>
              <a:chExt cx="925299" cy="925299"/>
            </a:xfrm>
          </p:grpSpPr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E428D253-72F7-419B-317D-2CF2F2E0B69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68157" y="2426263"/>
                <a:ext cx="925299" cy="925299"/>
              </a:xfrm>
              <a:prstGeom prst="ellipse">
                <a:avLst/>
              </a:prstGeom>
              <a:gradFill>
                <a:gsLst>
                  <a:gs pos="0">
                    <a:srgbClr val="2A69BD"/>
                  </a:gs>
                  <a:gs pos="100000">
                    <a:srgbClr val="001A58"/>
                  </a:gs>
                </a:gsLst>
                <a:lin ang="7200000" scaled="0"/>
              </a:gradFill>
              <a:ln w="12700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lIns="108000" tIns="108000" rIns="108000" bIns="108000" rtlCol="0" anchor="t" anchorCtr="0"/>
              <a:lstStyle/>
              <a:p>
                <a:pPr marL="342900" marR="0" lvl="0" indent="-342900" algn="l" defTabSz="914400" rtl="0" eaLnBrk="1" fontAlgn="auto" latinLnBrk="0" hangingPunct="1">
                  <a:lnSpc>
                    <a:spcPct val="90000"/>
                  </a:lnSpc>
                  <a:spcBef>
                    <a:spcPts val="400"/>
                  </a:spcBef>
                  <a:spcAft>
                    <a:spcPts val="400"/>
                  </a:spcAft>
                  <a:buClr>
                    <a:srgbClr val="2A69BD"/>
                  </a:buClr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nb-NO" sz="2000" b="0" i="0" u="none" strike="noStrike" kern="0" cap="none" spc="0" normalizeH="0" baseline="0" noProof="0">
                  <a:ln>
                    <a:noFill/>
                  </a:ln>
                  <a:solidFill>
                    <a:srgbClr val="1A1A24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  <a:sym typeface="Segoe UI" panose="020B0502040204020203" pitchFamily="34" charset="0"/>
                </a:endParaRPr>
              </a:p>
            </p:txBody>
          </p:sp>
          <p:pic>
            <p:nvPicPr>
              <p:cNvPr id="20" name="Graphic 19" descr="Scales of justice with solid fill">
                <a:extLst>
                  <a:ext uri="{FF2B5EF4-FFF2-40B4-BE49-F238E27FC236}">
                    <a16:creationId xmlns:a16="http://schemas.microsoft.com/office/drawing/2014/main" id="{7A3AA547-A877-94B1-0D1B-313107459C2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3398924" y="2557030"/>
                <a:ext cx="663764" cy="663764"/>
              </a:xfrm>
              <a:prstGeom prst="rect">
                <a:avLst/>
              </a:prstGeom>
            </p:spPr>
          </p:pic>
        </p:grp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60B64F2-466C-3FE6-F2D8-9ADCEB6D001F}"/>
              </a:ext>
            </a:extLst>
          </p:cNvPr>
          <p:cNvGrpSpPr/>
          <p:nvPr/>
        </p:nvGrpSpPr>
        <p:grpSpPr>
          <a:xfrm>
            <a:off x="9706860" y="2168191"/>
            <a:ext cx="1850024" cy="2571495"/>
            <a:chOff x="9706860" y="2168191"/>
            <a:chExt cx="1850024" cy="2571495"/>
          </a:xfrm>
        </p:grpSpPr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964E4103-3C1D-36C3-EB4E-1196B8900A9B}"/>
                </a:ext>
              </a:extLst>
            </p:cNvPr>
            <p:cNvSpPr>
              <a:spLocks/>
            </p:cNvSpPr>
            <p:nvPr/>
          </p:nvSpPr>
          <p:spPr>
            <a:xfrm>
              <a:off x="9706860" y="2880552"/>
              <a:ext cx="1850024" cy="1859134"/>
            </a:xfrm>
            <a:prstGeom prst="round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108000" tIns="108000" rIns="108000" bIns="10800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FFE600"/>
                </a:buClr>
                <a:buSzTx/>
                <a:buFontTx/>
                <a:buNone/>
                <a:tabLst/>
                <a:defRPr/>
              </a:pPr>
              <a:r>
                <a:rPr kumimoji="0" lang="nb-NO" sz="1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Kompetanse-heving</a:t>
              </a:r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9AF5A175-A4F3-D781-151C-6B0DFC3B874D}"/>
                </a:ext>
              </a:extLst>
            </p:cNvPr>
            <p:cNvGrpSpPr>
              <a:grpSpLocks/>
            </p:cNvGrpSpPr>
            <p:nvPr/>
          </p:nvGrpSpPr>
          <p:grpSpPr>
            <a:xfrm>
              <a:off x="10040186" y="2168191"/>
              <a:ext cx="1183371" cy="1183371"/>
              <a:chOff x="10362151" y="2168191"/>
              <a:chExt cx="1183371" cy="1183371"/>
            </a:xfrm>
          </p:grpSpPr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0759E067-8CAB-C52E-F752-AB35AE26D5D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362151" y="2168191"/>
                <a:ext cx="1183371" cy="1183371"/>
              </a:xfrm>
              <a:prstGeom prst="ellipse">
                <a:avLst/>
              </a:prstGeom>
              <a:gradFill>
                <a:gsLst>
                  <a:gs pos="0">
                    <a:srgbClr val="2A69BD"/>
                  </a:gs>
                  <a:gs pos="100000">
                    <a:srgbClr val="001A58"/>
                  </a:gs>
                </a:gsLst>
                <a:lin ang="7200000" scaled="0"/>
              </a:gradFill>
              <a:ln w="12700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lIns="108000" tIns="108000" rIns="108000" bIns="108000" rtlCol="0" anchor="t" anchorCtr="0"/>
              <a:lstStyle/>
              <a:p>
                <a:pPr marL="342900" marR="0" lvl="0" indent="-342900" algn="l" defTabSz="914400" rtl="0" eaLnBrk="1" fontAlgn="auto" latinLnBrk="0" hangingPunct="1">
                  <a:lnSpc>
                    <a:spcPct val="90000"/>
                  </a:lnSpc>
                  <a:spcBef>
                    <a:spcPts val="400"/>
                  </a:spcBef>
                  <a:spcAft>
                    <a:spcPts val="400"/>
                  </a:spcAft>
                  <a:buClr>
                    <a:srgbClr val="2A69BD"/>
                  </a:buClr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nb-NO" sz="2000" b="0" i="0" u="none" strike="noStrike" kern="0" cap="none" spc="0" normalizeH="0" baseline="0" noProof="0">
                  <a:ln>
                    <a:noFill/>
                  </a:ln>
                  <a:solidFill>
                    <a:srgbClr val="1A1A24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  <a:sym typeface="Segoe UI" panose="020B0502040204020203" pitchFamily="34" charset="0"/>
                </a:endParaRPr>
              </a:p>
            </p:txBody>
          </p:sp>
          <p:pic>
            <p:nvPicPr>
              <p:cNvPr id="24" name="Graphic 23" descr="Idea with solid fill">
                <a:extLst>
                  <a:ext uri="{FF2B5EF4-FFF2-40B4-BE49-F238E27FC236}">
                    <a16:creationId xmlns:a16="http://schemas.microsoft.com/office/drawing/2014/main" id="{E4A4F9CF-AA9D-E6E4-CC3F-14BEC879302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10529389" y="2335430"/>
                <a:ext cx="848892" cy="848892"/>
              </a:xfrm>
              <a:prstGeom prst="rect">
                <a:avLst/>
              </a:prstGeom>
            </p:spPr>
          </p:pic>
        </p:grp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E2A7ADD-AC12-B7E2-AE67-1FB3B1C1273E}"/>
              </a:ext>
            </a:extLst>
          </p:cNvPr>
          <p:cNvGrpSpPr>
            <a:grpSpLocks/>
          </p:cNvGrpSpPr>
          <p:nvPr/>
        </p:nvGrpSpPr>
        <p:grpSpPr>
          <a:xfrm>
            <a:off x="5177633" y="2168191"/>
            <a:ext cx="1850024" cy="2571495"/>
            <a:chOff x="5035795" y="2168191"/>
            <a:chExt cx="1850024" cy="2571495"/>
          </a:xfrm>
        </p:grpSpPr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A62018B6-0C68-6A5D-4F51-8DBC4188A61C}"/>
                </a:ext>
              </a:extLst>
            </p:cNvPr>
            <p:cNvSpPr>
              <a:spLocks/>
            </p:cNvSpPr>
            <p:nvPr/>
          </p:nvSpPr>
          <p:spPr>
            <a:xfrm>
              <a:off x="5035795" y="2880552"/>
              <a:ext cx="1850024" cy="1859134"/>
            </a:xfrm>
            <a:prstGeom prst="round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108000" tIns="108000" rIns="108000" bIns="10800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FFE600"/>
                </a:buClr>
                <a:buSzTx/>
                <a:buFontTx/>
                <a:buNone/>
                <a:tabLst/>
                <a:defRPr/>
              </a:pPr>
              <a:r>
                <a:rPr kumimoji="0" lang="nb-NO" sz="1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Praktisk veiledning</a:t>
              </a: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A6E01815-F4D6-D369-86A9-0208EA3B4EA6}"/>
                </a:ext>
              </a:extLst>
            </p:cNvPr>
            <p:cNvGrpSpPr>
              <a:grpSpLocks/>
            </p:cNvGrpSpPr>
            <p:nvPr/>
          </p:nvGrpSpPr>
          <p:grpSpPr>
            <a:xfrm>
              <a:off x="5369122" y="2168191"/>
              <a:ext cx="1183371" cy="1183371"/>
              <a:chOff x="5625413" y="2426263"/>
              <a:chExt cx="925299" cy="925299"/>
            </a:xfrm>
          </p:grpSpPr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88D75D1E-6681-33D4-0AD2-A54CCA7E731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25413" y="2426263"/>
                <a:ext cx="925299" cy="925299"/>
              </a:xfrm>
              <a:prstGeom prst="ellipse">
                <a:avLst/>
              </a:prstGeom>
              <a:gradFill>
                <a:gsLst>
                  <a:gs pos="0">
                    <a:srgbClr val="2A69BD"/>
                  </a:gs>
                  <a:gs pos="100000">
                    <a:srgbClr val="001A58"/>
                  </a:gs>
                </a:gsLst>
                <a:lin ang="7200000" scaled="0"/>
              </a:gradFill>
              <a:ln w="12700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lIns="108000" tIns="108000" rIns="108000" bIns="108000" rtlCol="0" anchor="t" anchorCtr="0"/>
              <a:lstStyle/>
              <a:p>
                <a:pPr marL="342900" marR="0" lvl="0" indent="-342900" algn="l" defTabSz="914400" rtl="0" eaLnBrk="1" fontAlgn="auto" latinLnBrk="0" hangingPunct="1">
                  <a:lnSpc>
                    <a:spcPct val="90000"/>
                  </a:lnSpc>
                  <a:spcBef>
                    <a:spcPts val="400"/>
                  </a:spcBef>
                  <a:spcAft>
                    <a:spcPts val="400"/>
                  </a:spcAft>
                  <a:buClr>
                    <a:srgbClr val="2A69BD"/>
                  </a:buClr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nb-NO" sz="2000" b="0" i="0" u="none" strike="noStrike" kern="0" cap="none" spc="0" normalizeH="0" baseline="0" noProof="0">
                  <a:ln>
                    <a:noFill/>
                  </a:ln>
                  <a:solidFill>
                    <a:srgbClr val="1A1A24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  <a:sym typeface="Segoe UI" panose="020B0502040204020203" pitchFamily="34" charset="0"/>
                </a:endParaRPr>
              </a:p>
            </p:txBody>
          </p:sp>
          <p:pic>
            <p:nvPicPr>
              <p:cNvPr id="28" name="Graphic 27" descr="Classroom with solid fill">
                <a:extLst>
                  <a:ext uri="{FF2B5EF4-FFF2-40B4-BE49-F238E27FC236}">
                    <a16:creationId xmlns:a16="http://schemas.microsoft.com/office/drawing/2014/main" id="{B5391CF3-1F06-B3AE-3775-57BAD7480F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5756181" y="2557030"/>
                <a:ext cx="663764" cy="663764"/>
              </a:xfrm>
              <a:prstGeom prst="rect">
                <a:avLst/>
              </a:prstGeom>
            </p:spPr>
          </p:pic>
        </p:grp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D1662A6-0FB7-9402-9A3B-B57B2CC5B2BD}"/>
              </a:ext>
            </a:extLst>
          </p:cNvPr>
          <p:cNvGrpSpPr>
            <a:grpSpLocks/>
          </p:cNvGrpSpPr>
          <p:nvPr/>
        </p:nvGrpSpPr>
        <p:grpSpPr>
          <a:xfrm>
            <a:off x="648406" y="2168191"/>
            <a:ext cx="1850024" cy="2571495"/>
            <a:chOff x="506743" y="2168191"/>
            <a:chExt cx="1850024" cy="2571495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66E3929C-5C2C-8E86-7B63-4AF6EBDCDA03}"/>
                </a:ext>
              </a:extLst>
            </p:cNvPr>
            <p:cNvSpPr>
              <a:spLocks/>
            </p:cNvSpPr>
            <p:nvPr/>
          </p:nvSpPr>
          <p:spPr>
            <a:xfrm>
              <a:off x="506743" y="2880552"/>
              <a:ext cx="1850024" cy="1859134"/>
            </a:xfrm>
            <a:prstGeom prst="round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108000" tIns="108000" rIns="108000" bIns="10800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FFE600"/>
                </a:buClr>
                <a:buSzTx/>
                <a:buFontTx/>
                <a:buNone/>
                <a:tabLst/>
                <a:defRPr/>
              </a:pPr>
              <a:r>
                <a:rPr kumimoji="0" lang="nb-NO" sz="1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Tilgang til eksempler</a:t>
              </a:r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96149E92-7346-110B-1D48-EFAB0316306C}"/>
                </a:ext>
              </a:extLst>
            </p:cNvPr>
            <p:cNvGrpSpPr>
              <a:grpSpLocks/>
            </p:cNvGrpSpPr>
            <p:nvPr/>
          </p:nvGrpSpPr>
          <p:grpSpPr>
            <a:xfrm>
              <a:off x="840070" y="2168191"/>
              <a:ext cx="1183371" cy="1183371"/>
              <a:chOff x="910900" y="2426263"/>
              <a:chExt cx="925299" cy="925299"/>
            </a:xfrm>
          </p:grpSpPr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4A235D44-F4E9-C85C-BF4D-9D82E50CDD3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10900" y="2426263"/>
                <a:ext cx="925299" cy="925299"/>
              </a:xfrm>
              <a:prstGeom prst="ellipse">
                <a:avLst/>
              </a:prstGeom>
              <a:gradFill>
                <a:gsLst>
                  <a:gs pos="0">
                    <a:srgbClr val="2A69BD"/>
                  </a:gs>
                  <a:gs pos="100000">
                    <a:srgbClr val="001A58"/>
                  </a:gs>
                </a:gsLst>
                <a:lin ang="7200000" scaled="0"/>
              </a:gradFill>
              <a:ln w="12700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lIns="108000" tIns="108000" rIns="108000" bIns="108000" rtlCol="0" anchor="t" anchorCtr="0"/>
              <a:lstStyle/>
              <a:p>
                <a:pPr marL="342900" marR="0" lvl="0" indent="-342900" algn="l" defTabSz="914400" rtl="0" eaLnBrk="1" fontAlgn="auto" latinLnBrk="0" hangingPunct="1">
                  <a:lnSpc>
                    <a:spcPct val="90000"/>
                  </a:lnSpc>
                  <a:spcBef>
                    <a:spcPts val="400"/>
                  </a:spcBef>
                  <a:spcAft>
                    <a:spcPts val="400"/>
                  </a:spcAft>
                  <a:buClr>
                    <a:srgbClr val="2A69BD"/>
                  </a:buClr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nb-NO" sz="2000" b="0" i="0" u="none" strike="noStrike" kern="0" cap="none" spc="0" normalizeH="0" baseline="0" noProof="0">
                  <a:ln>
                    <a:noFill/>
                  </a:ln>
                  <a:solidFill>
                    <a:srgbClr val="1A1A24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  <a:sym typeface="Segoe UI" panose="020B0502040204020203" pitchFamily="34" charset="0"/>
                </a:endParaRPr>
              </a:p>
            </p:txBody>
          </p:sp>
          <p:pic>
            <p:nvPicPr>
              <p:cNvPr id="29" name="Graphic 28" descr="Books with solid fill">
                <a:extLst>
                  <a:ext uri="{FF2B5EF4-FFF2-40B4-BE49-F238E27FC236}">
                    <a16:creationId xmlns:a16="http://schemas.microsoft.com/office/drawing/2014/main" id="{6383D3D3-F6C3-506E-E3C0-3DF047CA986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1041668" y="2557030"/>
                <a:ext cx="663764" cy="663764"/>
              </a:xfrm>
              <a:prstGeom prst="rect">
                <a:avLst/>
              </a:prstGeom>
            </p:spPr>
          </p:pic>
        </p:grp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E0BAA9D-A2E5-9AE1-7B8E-38B8741A9202}"/>
              </a:ext>
            </a:extLst>
          </p:cNvPr>
          <p:cNvGrpSpPr>
            <a:grpSpLocks/>
          </p:cNvGrpSpPr>
          <p:nvPr/>
        </p:nvGrpSpPr>
        <p:grpSpPr>
          <a:xfrm>
            <a:off x="7442247" y="2168191"/>
            <a:ext cx="1850024" cy="2571495"/>
            <a:chOff x="7300323" y="2168191"/>
            <a:chExt cx="1850024" cy="2571495"/>
          </a:xfrm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DDAA30AC-05C1-10D4-5980-968528DEA0E7}"/>
                </a:ext>
              </a:extLst>
            </p:cNvPr>
            <p:cNvSpPr>
              <a:spLocks/>
            </p:cNvSpPr>
            <p:nvPr/>
          </p:nvSpPr>
          <p:spPr>
            <a:xfrm>
              <a:off x="7300323" y="2880552"/>
              <a:ext cx="1850024" cy="1859134"/>
            </a:xfrm>
            <a:prstGeom prst="round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108000" tIns="108000" rIns="108000" bIns="10800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FFE600"/>
                </a:buClr>
                <a:buSzTx/>
                <a:buFontTx/>
                <a:buNone/>
                <a:tabLst/>
                <a:defRPr/>
              </a:pPr>
              <a:r>
                <a:rPr kumimoji="0" lang="nb-NO" sz="1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Erfarings-utveksling</a:t>
              </a:r>
            </a:p>
          </p:txBody>
        </p: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5FE12779-F3FF-EA36-B142-833E865B0C83}"/>
                </a:ext>
              </a:extLst>
            </p:cNvPr>
            <p:cNvGrpSpPr>
              <a:grpSpLocks/>
            </p:cNvGrpSpPr>
            <p:nvPr/>
          </p:nvGrpSpPr>
          <p:grpSpPr>
            <a:xfrm>
              <a:off x="7633649" y="2168191"/>
              <a:ext cx="1183371" cy="1183371"/>
              <a:chOff x="7982669" y="2426263"/>
              <a:chExt cx="925299" cy="925299"/>
            </a:xfrm>
          </p:grpSpPr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86D31B4D-81DC-CA1A-77BB-C93FB5CE0F1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982669" y="2426263"/>
                <a:ext cx="925299" cy="925299"/>
              </a:xfrm>
              <a:prstGeom prst="ellipse">
                <a:avLst/>
              </a:prstGeom>
              <a:gradFill>
                <a:gsLst>
                  <a:gs pos="0">
                    <a:srgbClr val="2A69BD"/>
                  </a:gs>
                  <a:gs pos="100000">
                    <a:srgbClr val="001A58"/>
                  </a:gs>
                </a:gsLst>
                <a:lin ang="7200000" scaled="0"/>
              </a:gradFill>
              <a:ln w="12700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lIns="108000" tIns="108000" rIns="108000" bIns="108000" rtlCol="0" anchor="t" anchorCtr="0"/>
              <a:lstStyle/>
              <a:p>
                <a:pPr marL="342900" marR="0" lvl="0" indent="-342900" algn="l" defTabSz="914400" rtl="0" eaLnBrk="1" fontAlgn="auto" latinLnBrk="0" hangingPunct="1">
                  <a:lnSpc>
                    <a:spcPct val="90000"/>
                  </a:lnSpc>
                  <a:spcBef>
                    <a:spcPts val="400"/>
                  </a:spcBef>
                  <a:spcAft>
                    <a:spcPts val="400"/>
                  </a:spcAft>
                  <a:buClr>
                    <a:srgbClr val="2A69BD"/>
                  </a:buClr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nb-NO" sz="2000" b="0" i="0" u="none" strike="noStrike" kern="0" cap="none" spc="0" normalizeH="0" baseline="0" noProof="0">
                  <a:ln>
                    <a:noFill/>
                  </a:ln>
                  <a:solidFill>
                    <a:srgbClr val="1A1A24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  <a:sym typeface="Segoe UI" panose="020B0502040204020203" pitchFamily="34" charset="0"/>
                </a:endParaRPr>
              </a:p>
            </p:txBody>
          </p:sp>
          <p:pic>
            <p:nvPicPr>
              <p:cNvPr id="30" name="Graphic 29" descr="Chat with solid fill">
                <a:extLst>
                  <a:ext uri="{FF2B5EF4-FFF2-40B4-BE49-F238E27FC236}">
                    <a16:creationId xmlns:a16="http://schemas.microsoft.com/office/drawing/2014/main" id="{5AAA5C85-E4B5-98F7-F003-84FD7B69C06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8113436" y="2557030"/>
                <a:ext cx="663764" cy="663764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33287074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9638F1-8227-5F02-F0F3-DB9FAC3846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29E4DB0-6FC5-6070-A6B7-E4CC2CAABF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5" imgH="405" progId="TCLayout.ActiveDocument.1">
                  <p:embed/>
                </p:oleObj>
              </mc:Choice>
              <mc:Fallback>
                <p:oleObj name="think-cell Slide" r:id="rId4" imgW="405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9E4DB0-6FC5-6070-A6B7-E4CC2CAABF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98846F-5676-F291-1BB8-F44719E720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551" y="657652"/>
            <a:ext cx="10496550" cy="590400"/>
          </a:xfrm>
        </p:spPr>
        <p:txBody>
          <a:bodyPr vert="horz"/>
          <a:lstStyle/>
          <a:p>
            <a:r>
              <a:rPr lang="nb-NO" noProof="0" dirty="0">
                <a:solidFill>
                  <a:schemeClr val="tx1"/>
                </a:solidFill>
              </a:rPr>
              <a:t>Anbefalingene om å </a:t>
            </a:r>
            <a:r>
              <a:rPr lang="nb-NO" dirty="0">
                <a:solidFill>
                  <a:schemeClr val="tx1"/>
                </a:solidFill>
              </a:rPr>
              <a:t>s</a:t>
            </a:r>
            <a:r>
              <a:rPr lang="nb-NO" noProof="0" dirty="0" err="1">
                <a:solidFill>
                  <a:schemeClr val="tx1"/>
                </a:solidFill>
              </a:rPr>
              <a:t>kalere</a:t>
            </a:r>
            <a:r>
              <a:rPr lang="nb-NO" noProof="0" dirty="0">
                <a:solidFill>
                  <a:schemeClr val="tx1"/>
                </a:solidFill>
              </a:rPr>
              <a:t> i Norge: Kort sikt</a:t>
            </a:r>
          </a:p>
        </p:txBody>
      </p:sp>
      <p:pic>
        <p:nvPicPr>
          <p:cNvPr id="614" name="Graphic 613">
            <a:extLst>
              <a:ext uri="{FF2B5EF4-FFF2-40B4-BE49-F238E27FC236}">
                <a16:creationId xmlns:a16="http://schemas.microsoft.com/office/drawing/2014/main" id="{35157407-353E-FFA6-D977-E16B1F173F48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65261" y="1514369"/>
            <a:ext cx="3822141" cy="4783213"/>
          </a:xfrm>
          <a:prstGeom prst="rect">
            <a:avLst/>
          </a:prstGeom>
        </p:spPr>
      </p:pic>
      <p:sp>
        <p:nvSpPr>
          <p:cNvPr id="316" name="Rectangle 315">
            <a:extLst>
              <a:ext uri="{FF2B5EF4-FFF2-40B4-BE49-F238E27FC236}">
                <a16:creationId xmlns:a16="http://schemas.microsoft.com/office/drawing/2014/main" id="{45CC7FBF-DF3F-5F3A-591C-FFBD980B7A8C}"/>
              </a:ext>
            </a:extLst>
          </p:cNvPr>
          <p:cNvSpPr>
            <a:spLocks/>
          </p:cNvSpPr>
          <p:nvPr/>
        </p:nvSpPr>
        <p:spPr>
          <a:xfrm>
            <a:off x="7552573" y="1068661"/>
            <a:ext cx="4734292" cy="5265232"/>
          </a:xfrm>
          <a:prstGeom prst="rect">
            <a:avLst/>
          </a:prstGeom>
          <a:gradFill flip="none" rotWithShape="1">
            <a:gsLst>
              <a:gs pos="0">
                <a:srgbClr val="EAF0F9">
                  <a:alpha val="80000"/>
                </a:srgbClr>
              </a:gs>
              <a:gs pos="100000">
                <a:srgbClr val="ECF2F9">
                  <a:alpha val="80000"/>
                </a:srgbClr>
              </a:gs>
            </a:gsLst>
            <a:lin ang="162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246" name="Rectangle: Rounded Corners 245">
            <a:extLst>
              <a:ext uri="{FF2B5EF4-FFF2-40B4-BE49-F238E27FC236}">
                <a16:creationId xmlns:a16="http://schemas.microsoft.com/office/drawing/2014/main" id="{C955A0F2-0DFB-15CC-B7D6-CFFDB5B91E90}"/>
              </a:ext>
            </a:extLst>
          </p:cNvPr>
          <p:cNvSpPr>
            <a:spLocks/>
          </p:cNvSpPr>
          <p:nvPr/>
        </p:nvSpPr>
        <p:spPr>
          <a:xfrm>
            <a:off x="10843329" y="657652"/>
            <a:ext cx="768742" cy="525982"/>
          </a:xfrm>
          <a:prstGeom prst="roundRect">
            <a:avLst/>
          </a:prstGeom>
          <a:blipFill>
            <a:blip r:embed="rId7"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9" name="Freeform: Shape 13">
            <a:extLst>
              <a:ext uri="{FF2B5EF4-FFF2-40B4-BE49-F238E27FC236}">
                <a16:creationId xmlns:a16="http://schemas.microsoft.com/office/drawing/2014/main" id="{02908DFA-3AC1-9CC2-2451-2B5A0D7D6EC3}"/>
              </a:ext>
            </a:extLst>
          </p:cNvPr>
          <p:cNvSpPr>
            <a:spLocks/>
          </p:cNvSpPr>
          <p:nvPr/>
        </p:nvSpPr>
        <p:spPr>
          <a:xfrm>
            <a:off x="590550" y="2540055"/>
            <a:ext cx="11017250" cy="2070177"/>
          </a:xfrm>
          <a:custGeom>
            <a:avLst/>
            <a:gdLst>
              <a:gd name="connsiteX0" fmla="*/ 0 w 10882745"/>
              <a:gd name="connsiteY0" fmla="*/ 2071255 h 2071255"/>
              <a:gd name="connsiteX1" fmla="*/ 2112818 w 10882745"/>
              <a:gd name="connsiteY1" fmla="*/ 2071255 h 2071255"/>
              <a:gd name="connsiteX2" fmla="*/ 2244436 w 10882745"/>
              <a:gd name="connsiteY2" fmla="*/ 1551709 h 2071255"/>
              <a:gd name="connsiteX3" fmla="*/ 4308763 w 10882745"/>
              <a:gd name="connsiteY3" fmla="*/ 1551709 h 2071255"/>
              <a:gd name="connsiteX4" fmla="*/ 4447309 w 10882745"/>
              <a:gd name="connsiteY4" fmla="*/ 1032164 h 2071255"/>
              <a:gd name="connsiteX5" fmla="*/ 6504709 w 10882745"/>
              <a:gd name="connsiteY5" fmla="*/ 1032164 h 2071255"/>
              <a:gd name="connsiteX6" fmla="*/ 6629400 w 10882745"/>
              <a:gd name="connsiteY6" fmla="*/ 519545 h 2071255"/>
              <a:gd name="connsiteX7" fmla="*/ 8693727 w 10882745"/>
              <a:gd name="connsiteY7" fmla="*/ 519545 h 2071255"/>
              <a:gd name="connsiteX8" fmla="*/ 8825345 w 10882745"/>
              <a:gd name="connsiteY8" fmla="*/ 0 h 2071255"/>
              <a:gd name="connsiteX9" fmla="*/ 10882745 w 10882745"/>
              <a:gd name="connsiteY9" fmla="*/ 0 h 2071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882745" h="2071255">
                <a:moveTo>
                  <a:pt x="0" y="2071255"/>
                </a:moveTo>
                <a:lnTo>
                  <a:pt x="2112818" y="2071255"/>
                </a:lnTo>
                <a:lnTo>
                  <a:pt x="2244436" y="1551709"/>
                </a:lnTo>
                <a:lnTo>
                  <a:pt x="4308763" y="1551709"/>
                </a:lnTo>
                <a:lnTo>
                  <a:pt x="4447309" y="1032164"/>
                </a:lnTo>
                <a:lnTo>
                  <a:pt x="6504709" y="1032164"/>
                </a:lnTo>
                <a:lnTo>
                  <a:pt x="6629400" y="519545"/>
                </a:lnTo>
                <a:lnTo>
                  <a:pt x="8693727" y="519545"/>
                </a:lnTo>
                <a:lnTo>
                  <a:pt x="8825345" y="0"/>
                </a:lnTo>
                <a:lnTo>
                  <a:pt x="10882745" y="0"/>
                </a:lnTo>
              </a:path>
            </a:pathLst>
          </a:custGeom>
          <a:noFill/>
          <a:ln w="25400" cap="flat" cmpd="sng" algn="ctr">
            <a:gradFill>
              <a:gsLst>
                <a:gs pos="100000">
                  <a:srgbClr val="001A58"/>
                </a:gs>
                <a:gs pos="49500">
                  <a:srgbClr val="17448E"/>
                </a:gs>
                <a:gs pos="0">
                  <a:srgbClr val="2A69BD"/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79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1" name="TextBox 15">
            <a:extLst>
              <a:ext uri="{FF2B5EF4-FFF2-40B4-BE49-F238E27FC236}">
                <a16:creationId xmlns:a16="http://schemas.microsoft.com/office/drawing/2014/main" id="{DAD7BCFB-1DA0-33DD-7EE3-5FF4CC947FBD}"/>
              </a:ext>
            </a:extLst>
          </p:cNvPr>
          <p:cNvSpPr txBox="1">
            <a:spLocks/>
          </p:cNvSpPr>
          <p:nvPr/>
        </p:nvSpPr>
        <p:spPr>
          <a:xfrm>
            <a:off x="597660" y="4087066"/>
            <a:ext cx="1915394" cy="522948"/>
          </a:xfrm>
          <a:prstGeom prst="rect">
            <a:avLst/>
          </a:prstGeom>
          <a:noFill/>
        </p:spPr>
        <p:txBody>
          <a:bodyPr wrap="square" lIns="0" rIns="0" rtlCol="0" anchor="b">
            <a:no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rPr>
              <a:t>Steg 1</a:t>
            </a:r>
          </a:p>
        </p:txBody>
      </p:sp>
      <p:sp>
        <p:nvSpPr>
          <p:cNvPr id="12" name="TextBox 45">
            <a:extLst>
              <a:ext uri="{FF2B5EF4-FFF2-40B4-BE49-F238E27FC236}">
                <a16:creationId xmlns:a16="http://schemas.microsoft.com/office/drawing/2014/main" id="{A164A485-AD1D-0DFC-455C-680366FBA6CC}"/>
              </a:ext>
            </a:extLst>
          </p:cNvPr>
          <p:cNvSpPr txBox="1">
            <a:spLocks/>
          </p:cNvSpPr>
          <p:nvPr/>
        </p:nvSpPr>
        <p:spPr>
          <a:xfrm>
            <a:off x="2905956" y="3566477"/>
            <a:ext cx="1915394" cy="522948"/>
          </a:xfrm>
          <a:prstGeom prst="rect">
            <a:avLst/>
          </a:prstGeom>
          <a:noFill/>
        </p:spPr>
        <p:txBody>
          <a:bodyPr wrap="square" lIns="0" rIns="0" rtlCol="0" anchor="b">
            <a:no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rPr>
              <a:t>Steg 2</a:t>
            </a:r>
          </a:p>
        </p:txBody>
      </p:sp>
      <p:sp>
        <p:nvSpPr>
          <p:cNvPr id="15" name="TextBox 49">
            <a:extLst>
              <a:ext uri="{FF2B5EF4-FFF2-40B4-BE49-F238E27FC236}">
                <a16:creationId xmlns:a16="http://schemas.microsoft.com/office/drawing/2014/main" id="{422C042F-3E34-B270-1DF3-3D0775EFEE30}"/>
              </a:ext>
            </a:extLst>
          </p:cNvPr>
          <p:cNvSpPr txBox="1">
            <a:spLocks/>
          </p:cNvSpPr>
          <p:nvPr/>
        </p:nvSpPr>
        <p:spPr>
          <a:xfrm>
            <a:off x="5150945" y="3045887"/>
            <a:ext cx="1915394" cy="522948"/>
          </a:xfrm>
          <a:prstGeom prst="rect">
            <a:avLst/>
          </a:prstGeom>
          <a:noFill/>
        </p:spPr>
        <p:txBody>
          <a:bodyPr wrap="square" lIns="0" rIns="0" rtlCol="0" anchor="b">
            <a:no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rPr>
              <a:t>Steg 3</a:t>
            </a:r>
          </a:p>
        </p:txBody>
      </p:sp>
      <p:sp>
        <p:nvSpPr>
          <p:cNvPr id="16" name="TextBox 53">
            <a:extLst>
              <a:ext uri="{FF2B5EF4-FFF2-40B4-BE49-F238E27FC236}">
                <a16:creationId xmlns:a16="http://schemas.microsoft.com/office/drawing/2014/main" id="{7B9DD922-6C22-D736-87DA-4EB495BD9A75}"/>
              </a:ext>
            </a:extLst>
          </p:cNvPr>
          <p:cNvSpPr txBox="1">
            <a:spLocks/>
          </p:cNvSpPr>
          <p:nvPr/>
        </p:nvSpPr>
        <p:spPr>
          <a:xfrm>
            <a:off x="7398064" y="2525297"/>
            <a:ext cx="1915394" cy="522948"/>
          </a:xfrm>
          <a:prstGeom prst="rect">
            <a:avLst/>
          </a:prstGeom>
          <a:noFill/>
        </p:spPr>
        <p:txBody>
          <a:bodyPr wrap="square" lIns="0" rIns="0" rtlCol="0" anchor="b">
            <a:no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rPr>
              <a:t>Steg 4</a:t>
            </a:r>
          </a:p>
        </p:txBody>
      </p:sp>
      <p:sp>
        <p:nvSpPr>
          <p:cNvPr id="17" name="TextBox 57">
            <a:extLst>
              <a:ext uri="{FF2B5EF4-FFF2-40B4-BE49-F238E27FC236}">
                <a16:creationId xmlns:a16="http://schemas.microsoft.com/office/drawing/2014/main" id="{59C1569C-71CD-5710-20B5-DC1555F37BCD}"/>
              </a:ext>
            </a:extLst>
          </p:cNvPr>
          <p:cNvSpPr txBox="1">
            <a:spLocks/>
          </p:cNvSpPr>
          <p:nvPr/>
        </p:nvSpPr>
        <p:spPr>
          <a:xfrm>
            <a:off x="9619933" y="2014289"/>
            <a:ext cx="1915394" cy="522948"/>
          </a:xfrm>
          <a:prstGeom prst="rect">
            <a:avLst/>
          </a:prstGeom>
          <a:noFill/>
        </p:spPr>
        <p:txBody>
          <a:bodyPr wrap="square" lIns="0" rIns="0" rtlCol="0" anchor="b">
            <a:no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rPr>
              <a:t>Steg 5</a:t>
            </a:r>
          </a:p>
        </p:txBody>
      </p:sp>
      <p:sp>
        <p:nvSpPr>
          <p:cNvPr id="20" name="TextBox 16">
            <a:extLst>
              <a:ext uri="{FF2B5EF4-FFF2-40B4-BE49-F238E27FC236}">
                <a16:creationId xmlns:a16="http://schemas.microsoft.com/office/drawing/2014/main" id="{A2C2A026-F378-31C3-4B45-DBC940DF0C5B}"/>
              </a:ext>
            </a:extLst>
          </p:cNvPr>
          <p:cNvSpPr txBox="1">
            <a:spLocks/>
          </p:cNvSpPr>
          <p:nvPr/>
        </p:nvSpPr>
        <p:spPr>
          <a:xfrm>
            <a:off x="597660" y="4686522"/>
            <a:ext cx="2076671" cy="399902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99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rPr>
              <a:t>Regulatorisk</a:t>
            </a:r>
          </a:p>
        </p:txBody>
      </p:sp>
      <p:sp>
        <p:nvSpPr>
          <p:cNvPr id="22" name="TextBox 46">
            <a:extLst>
              <a:ext uri="{FF2B5EF4-FFF2-40B4-BE49-F238E27FC236}">
                <a16:creationId xmlns:a16="http://schemas.microsoft.com/office/drawing/2014/main" id="{6127CFBD-96D8-55BE-03BF-9514EB1C968F}"/>
              </a:ext>
            </a:extLst>
          </p:cNvPr>
          <p:cNvSpPr txBox="1">
            <a:spLocks/>
          </p:cNvSpPr>
          <p:nvPr/>
        </p:nvSpPr>
        <p:spPr>
          <a:xfrm>
            <a:off x="2905956" y="4165854"/>
            <a:ext cx="1708248" cy="399981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99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rPr>
              <a:t>Gevinstarbeid</a:t>
            </a:r>
          </a:p>
        </p:txBody>
      </p:sp>
      <p:sp>
        <p:nvSpPr>
          <p:cNvPr id="24" name="TextBox 50">
            <a:extLst>
              <a:ext uri="{FF2B5EF4-FFF2-40B4-BE49-F238E27FC236}">
                <a16:creationId xmlns:a16="http://schemas.microsoft.com/office/drawing/2014/main" id="{3D7EE27D-FA75-4240-6425-3CD0EF4CEB6E}"/>
              </a:ext>
            </a:extLst>
          </p:cNvPr>
          <p:cNvSpPr txBox="1">
            <a:spLocks/>
          </p:cNvSpPr>
          <p:nvPr/>
        </p:nvSpPr>
        <p:spPr>
          <a:xfrm>
            <a:off x="5150945" y="3645264"/>
            <a:ext cx="2076671" cy="399981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99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rPr>
              <a:t>A</a:t>
            </a:r>
            <a:r>
              <a:rPr kumimoji="0" lang="nb-NO" sz="1999" b="1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rPr>
              <a:t>nskaffelse</a:t>
            </a:r>
            <a:r>
              <a:rPr kumimoji="0" lang="nb-NO" sz="199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rPr>
              <a:t> </a:t>
            </a:r>
          </a:p>
        </p:txBody>
      </p:sp>
      <p:sp>
        <p:nvSpPr>
          <p:cNvPr id="26" name="TextBox 54">
            <a:extLst>
              <a:ext uri="{FF2B5EF4-FFF2-40B4-BE49-F238E27FC236}">
                <a16:creationId xmlns:a16="http://schemas.microsoft.com/office/drawing/2014/main" id="{17447D5A-2D75-3C53-7824-4D7426E7C286}"/>
              </a:ext>
            </a:extLst>
          </p:cNvPr>
          <p:cNvSpPr txBox="1">
            <a:spLocks/>
          </p:cNvSpPr>
          <p:nvPr/>
        </p:nvSpPr>
        <p:spPr>
          <a:xfrm>
            <a:off x="7398064" y="3145854"/>
            <a:ext cx="2076671" cy="399902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99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rPr>
              <a:t>Implementering</a:t>
            </a:r>
          </a:p>
        </p:txBody>
      </p:sp>
      <p:sp>
        <p:nvSpPr>
          <p:cNvPr id="28" name="TextBox 58">
            <a:extLst>
              <a:ext uri="{FF2B5EF4-FFF2-40B4-BE49-F238E27FC236}">
                <a16:creationId xmlns:a16="http://schemas.microsoft.com/office/drawing/2014/main" id="{FA490F5D-3333-FDF4-13EE-7384EEBCE931}"/>
              </a:ext>
            </a:extLst>
          </p:cNvPr>
          <p:cNvSpPr txBox="1">
            <a:spLocks/>
          </p:cNvSpPr>
          <p:nvPr/>
        </p:nvSpPr>
        <p:spPr>
          <a:xfrm>
            <a:off x="9619934" y="2634846"/>
            <a:ext cx="1929642" cy="399902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99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rPr>
              <a:t>Intern skalering</a:t>
            </a:r>
          </a:p>
        </p:txBody>
      </p:sp>
      <p:sp>
        <p:nvSpPr>
          <p:cNvPr id="29" name="Arrow: Pentagon 41">
            <a:extLst>
              <a:ext uri="{FF2B5EF4-FFF2-40B4-BE49-F238E27FC236}">
                <a16:creationId xmlns:a16="http://schemas.microsoft.com/office/drawing/2014/main" id="{EA7137C2-811D-654D-F25F-F28F10B46DC6}"/>
              </a:ext>
            </a:extLst>
          </p:cNvPr>
          <p:cNvSpPr>
            <a:spLocks/>
          </p:cNvSpPr>
          <p:nvPr/>
        </p:nvSpPr>
        <p:spPr>
          <a:xfrm>
            <a:off x="13358962" y="3741340"/>
            <a:ext cx="4144889" cy="307325"/>
          </a:xfrm>
          <a:prstGeom prst="homePlate">
            <a:avLst>
              <a:gd name="adj" fmla="val 38396"/>
            </a:avLst>
          </a:prstGeom>
          <a:solidFill>
            <a:srgbClr val="2A69BD"/>
          </a:solidFill>
          <a:ln w="28575" cap="flat" cmpd="sng" algn="ctr">
            <a:solidFill>
              <a:srgbClr val="2A69BD"/>
            </a:solidFill>
            <a:prstDash val="solid"/>
          </a:ln>
          <a:effectLst/>
        </p:spPr>
        <p:txBody>
          <a:bodyPr lIns="91440" tIns="45720" rIns="91440" bIns="45720" rtlCol="0" anchor="ctr" anchorCtr="0"/>
          <a:lstStyle/>
          <a:p>
            <a:pPr marL="0" marR="0" lvl="0" indent="0" algn="ctr" defTabSz="9134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Hente ut gevinster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9AAD443-F81F-4B5B-2545-95EB45795149}"/>
              </a:ext>
            </a:extLst>
          </p:cNvPr>
          <p:cNvSpPr txBox="1"/>
          <p:nvPr/>
        </p:nvSpPr>
        <p:spPr>
          <a:xfrm>
            <a:off x="13394131" y="4182606"/>
            <a:ext cx="4009292" cy="1780487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2A69BD"/>
              </a:buClr>
              <a:buSzPct val="70000"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Eksempler:</a:t>
            </a:r>
          </a:p>
          <a:p>
            <a:pPr marL="285750" marR="0" lvl="0" indent="-28575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2A69BD"/>
              </a:buClr>
              <a:buSzPct val="70000"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Effektivisering av oppgaver</a:t>
            </a: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2A69BD"/>
              </a:buClr>
              <a:buSzPct val="70000"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er tid til pasienten</a:t>
            </a:r>
          </a:p>
          <a:p>
            <a:pPr marL="285750" marR="0" lvl="0" indent="-28575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2A69BD"/>
              </a:buClr>
              <a:buSzPct val="70000"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Økt tilfredshet blant ansatte</a:t>
            </a:r>
          </a:p>
          <a:p>
            <a:pPr marL="285750" marR="0" lvl="0" indent="-28575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2A69BD"/>
              </a:buClr>
              <a:buSzPct val="70000"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Reduksjon i menneskelige feil</a:t>
            </a: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2A69BD"/>
              </a:buClr>
              <a:buSzPct val="70000"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Personellbesparende</a:t>
            </a: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2A69BD"/>
              </a:buClr>
              <a:buSzPct val="70000"/>
              <a:buFont typeface="Arial" panose="020B0604020202020204" pitchFamily="34" charset="0"/>
              <a:buChar char="•"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D91F855C-8EE1-91FE-66BE-9F51232CA432}"/>
              </a:ext>
            </a:extLst>
          </p:cNvPr>
          <p:cNvGrpSpPr>
            <a:grpSpLocks/>
          </p:cNvGrpSpPr>
          <p:nvPr/>
        </p:nvGrpSpPr>
        <p:grpSpPr>
          <a:xfrm>
            <a:off x="787633" y="1411853"/>
            <a:ext cx="3081485" cy="1248890"/>
            <a:chOff x="570009" y="1687047"/>
            <a:chExt cx="3081485" cy="1248890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E1B04693-8A14-6568-539B-678220B6789C}"/>
                </a:ext>
              </a:extLst>
            </p:cNvPr>
            <p:cNvGrpSpPr>
              <a:grpSpLocks/>
            </p:cNvGrpSpPr>
            <p:nvPr/>
          </p:nvGrpSpPr>
          <p:grpSpPr>
            <a:xfrm>
              <a:off x="570009" y="2418837"/>
              <a:ext cx="517100" cy="517100"/>
              <a:chOff x="4917659" y="2728326"/>
              <a:chExt cx="517100" cy="517100"/>
            </a:xfrm>
          </p:grpSpPr>
          <p:sp>
            <p:nvSpPr>
              <p:cNvPr id="8" name="Oval 7">
                <a:extLst>
                  <a:ext uri="{FF2B5EF4-FFF2-40B4-BE49-F238E27FC236}">
                    <a16:creationId xmlns:a16="http://schemas.microsoft.com/office/drawing/2014/main" id="{820E738D-285E-2806-1F24-469C9D7B381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17659" y="2728326"/>
                <a:ext cx="517100" cy="517100"/>
              </a:xfrm>
              <a:prstGeom prst="ellipse">
                <a:avLst/>
              </a:prstGeom>
              <a:gradFill>
                <a:gsLst>
                  <a:gs pos="0">
                    <a:srgbClr val="8CB6BA"/>
                  </a:gs>
                  <a:gs pos="100000">
                    <a:srgbClr val="1E9CD7"/>
                  </a:gs>
                </a:gsLst>
                <a:lin ang="7200000" scaled="0"/>
              </a:gradFill>
              <a:ln w="12700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lIns="108000" tIns="108000" rIns="108000" bIns="108000" rtlCol="0" anchor="t" anchorCtr="0"/>
              <a:lstStyle/>
              <a:p>
                <a:pPr marL="342900" marR="0" lvl="0" indent="-342900" algn="l" defTabSz="914400" rtl="0" eaLnBrk="1" fontAlgn="auto" latinLnBrk="0" hangingPunct="1">
                  <a:lnSpc>
                    <a:spcPct val="90000"/>
                  </a:lnSpc>
                  <a:spcBef>
                    <a:spcPts val="400"/>
                  </a:spcBef>
                  <a:spcAft>
                    <a:spcPts val="400"/>
                  </a:spcAft>
                  <a:buClr>
                    <a:srgbClr val="2A69BD"/>
                  </a:buClr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nb-NO" sz="2000" b="0" i="0" u="none" strike="noStrike" kern="0" cap="none" spc="0" normalizeH="0" baseline="0" noProof="0">
                  <a:ln>
                    <a:noFill/>
                  </a:ln>
                  <a:solidFill>
                    <a:srgbClr val="1A1A24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  <a:sym typeface="Segoe UI" panose="020B0502040204020203" pitchFamily="34" charset="0"/>
                </a:endParaRPr>
              </a:p>
            </p:txBody>
          </p:sp>
          <p:pic>
            <p:nvPicPr>
              <p:cNvPr id="10" name="Graphic 9" descr="Monthly calendar with solid fill">
                <a:extLst>
                  <a:ext uri="{FF2B5EF4-FFF2-40B4-BE49-F238E27FC236}">
                    <a16:creationId xmlns:a16="http://schemas.microsoft.com/office/drawing/2014/main" id="{F1BDD57B-8328-3E7F-6195-5443F49CABC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5010261" y="2820928"/>
                <a:ext cx="331897" cy="331897"/>
              </a:xfrm>
              <a:prstGeom prst="rect">
                <a:avLst/>
              </a:prstGeom>
              <a:effectLst/>
            </p:spPr>
          </p:pic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EBDCB60F-A421-9198-FC30-3C8A297AEFC1}"/>
                </a:ext>
              </a:extLst>
            </p:cNvPr>
            <p:cNvGrpSpPr>
              <a:grpSpLocks/>
            </p:cNvGrpSpPr>
            <p:nvPr/>
          </p:nvGrpSpPr>
          <p:grpSpPr>
            <a:xfrm>
              <a:off x="570009" y="1687047"/>
              <a:ext cx="517100" cy="517100"/>
              <a:chOff x="5557007" y="2017637"/>
              <a:chExt cx="517100" cy="517100"/>
            </a:xfrm>
          </p:grpSpPr>
          <p:sp>
            <p:nvSpPr>
              <p:cNvPr id="6" name="Oval 5">
                <a:extLst>
                  <a:ext uri="{FF2B5EF4-FFF2-40B4-BE49-F238E27FC236}">
                    <a16:creationId xmlns:a16="http://schemas.microsoft.com/office/drawing/2014/main" id="{00E49F98-39BE-70DF-2235-4CB6FCC9AB5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557007" y="2017637"/>
                <a:ext cx="517100" cy="517100"/>
              </a:xfrm>
              <a:prstGeom prst="ellipse">
                <a:avLst/>
              </a:prstGeom>
              <a:gradFill>
                <a:gsLst>
                  <a:gs pos="0">
                    <a:srgbClr val="1E9CD7"/>
                  </a:gs>
                  <a:gs pos="100000">
                    <a:srgbClr val="2A69BD"/>
                  </a:gs>
                </a:gsLst>
                <a:lin ang="7200000" scaled="0"/>
              </a:gradFill>
              <a:ln w="12700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lIns="108000" tIns="108000" rIns="108000" bIns="108000" rtlCol="0" anchor="t" anchorCtr="0"/>
              <a:lstStyle/>
              <a:p>
                <a:pPr marL="342900" marR="0" lvl="0" indent="-342900" algn="l" defTabSz="914400" rtl="0" eaLnBrk="1" fontAlgn="auto" latinLnBrk="0" hangingPunct="1">
                  <a:lnSpc>
                    <a:spcPct val="90000"/>
                  </a:lnSpc>
                  <a:spcBef>
                    <a:spcPts val="400"/>
                  </a:spcBef>
                  <a:spcAft>
                    <a:spcPts val="400"/>
                  </a:spcAft>
                  <a:buClr>
                    <a:srgbClr val="2A69BD"/>
                  </a:buClr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nb-NO" sz="2000" b="0" i="0" u="none" strike="noStrike" kern="0" cap="none" spc="0" normalizeH="0" baseline="0" noProof="0">
                  <a:ln>
                    <a:noFill/>
                  </a:ln>
                  <a:solidFill>
                    <a:srgbClr val="1A1A24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  <a:sym typeface="Segoe UI" panose="020B0502040204020203" pitchFamily="34" charset="0"/>
                </a:endParaRPr>
              </a:p>
            </p:txBody>
          </p:sp>
          <p:pic>
            <p:nvPicPr>
              <p:cNvPr id="13" name="Graphic 12" descr="Radio microphone with solid fill">
                <a:extLst>
                  <a:ext uri="{FF2B5EF4-FFF2-40B4-BE49-F238E27FC236}">
                    <a16:creationId xmlns:a16="http://schemas.microsoft.com/office/drawing/2014/main" id="{734DFC58-4429-E09E-FA72-85E20CE1BB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5649608" y="2110238"/>
                <a:ext cx="331897" cy="331897"/>
              </a:xfrm>
              <a:prstGeom prst="rect">
                <a:avLst/>
              </a:prstGeom>
              <a:effectLst/>
            </p:spPr>
          </p:pic>
        </p:grp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2297349A-A013-F85A-C4BD-382B58F670A2}"/>
                </a:ext>
              </a:extLst>
            </p:cNvPr>
            <p:cNvSpPr txBox="1">
              <a:spLocks/>
            </p:cNvSpPr>
            <p:nvPr/>
          </p:nvSpPr>
          <p:spPr>
            <a:xfrm>
              <a:off x="1293639" y="1822486"/>
              <a:ext cx="2244386" cy="246221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6D97"/>
                </a:buClr>
                <a:buSzPct val="70000"/>
                <a:buFontTx/>
                <a:buNone/>
                <a:tabLst/>
                <a:defRPr/>
              </a:pPr>
              <a:r>
                <a:rPr kumimoji="0" lang="nb-NO" sz="1600" b="1" i="0" u="none" strike="noStrike" kern="1200" cap="none" spc="0" normalizeH="0" baseline="0" noProof="0">
                  <a:ln>
                    <a:noFill/>
                  </a:ln>
                  <a:solidFill>
                    <a:srgbClr val="001A58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Talegjenkjenning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77AE2437-7115-564F-9137-DE700299CC45}"/>
                </a:ext>
              </a:extLst>
            </p:cNvPr>
            <p:cNvSpPr txBox="1">
              <a:spLocks/>
            </p:cNvSpPr>
            <p:nvPr/>
          </p:nvSpPr>
          <p:spPr>
            <a:xfrm>
              <a:off x="1328694" y="2554276"/>
              <a:ext cx="2322800" cy="246221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6D97"/>
                </a:buClr>
                <a:buSzPct val="70000"/>
                <a:buFontTx/>
                <a:buNone/>
                <a:tabLst/>
                <a:defRPr/>
              </a:pPr>
              <a:r>
                <a:rPr kumimoji="0" lang="nb-NO" sz="1600" b="1" i="0" u="none" strike="noStrike" kern="1200" cap="none" spc="0" normalizeH="0" baseline="0" noProof="0">
                  <a:ln>
                    <a:noFill/>
                  </a:ln>
                  <a:solidFill>
                    <a:srgbClr val="001A58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Bemanningsplanlegging</a:t>
              </a:r>
            </a:p>
          </p:txBody>
        </p:sp>
      </p:grp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4489CB74-692B-CFD8-3092-2245B7200169}"/>
              </a:ext>
            </a:extLst>
          </p:cNvPr>
          <p:cNvSpPr>
            <a:spLocks/>
          </p:cNvSpPr>
          <p:nvPr/>
        </p:nvSpPr>
        <p:spPr>
          <a:xfrm>
            <a:off x="590551" y="1167618"/>
            <a:ext cx="3432517" cy="1737360"/>
          </a:xfrm>
          <a:prstGeom prst="roundRect">
            <a:avLst>
              <a:gd name="adj" fmla="val 10819"/>
            </a:avLst>
          </a:prstGeom>
          <a:noFill/>
          <a:ln w="12700">
            <a:solidFill>
              <a:srgbClr val="B2C9E8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27" name="Rectangle: Rounded Corners 2">
            <a:extLst>
              <a:ext uri="{FF2B5EF4-FFF2-40B4-BE49-F238E27FC236}">
                <a16:creationId xmlns:a16="http://schemas.microsoft.com/office/drawing/2014/main" id="{F50F35ED-A451-D9FF-95D0-BAF49C2BAD17}"/>
              </a:ext>
            </a:extLst>
          </p:cNvPr>
          <p:cNvSpPr>
            <a:spLocks/>
          </p:cNvSpPr>
          <p:nvPr/>
        </p:nvSpPr>
        <p:spPr>
          <a:xfrm>
            <a:off x="533400" y="5718629"/>
            <a:ext cx="4537364" cy="356875"/>
          </a:xfrm>
          <a:prstGeom prst="roundRect">
            <a:avLst/>
          </a:prstGeom>
          <a:solidFill>
            <a:srgbClr val="001A58"/>
          </a:solidFill>
          <a:ln w="19050" cap="flat" cmpd="sng" algn="ctr">
            <a:solidFill>
              <a:srgbClr val="001A58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rPr>
              <a:t>Støtte tilgjengeliggjort direkte fra KS</a:t>
            </a:r>
          </a:p>
        </p:txBody>
      </p:sp>
      <p:sp>
        <p:nvSpPr>
          <p:cNvPr id="30" name="Rectangle: Rounded Corners 3">
            <a:extLst>
              <a:ext uri="{FF2B5EF4-FFF2-40B4-BE49-F238E27FC236}">
                <a16:creationId xmlns:a16="http://schemas.microsoft.com/office/drawing/2014/main" id="{875134A7-C3EC-0BA5-0315-B375AA1FC1B1}"/>
              </a:ext>
            </a:extLst>
          </p:cNvPr>
          <p:cNvSpPr>
            <a:spLocks/>
          </p:cNvSpPr>
          <p:nvPr/>
        </p:nvSpPr>
        <p:spPr>
          <a:xfrm>
            <a:off x="5206949" y="5718629"/>
            <a:ext cx="4604429" cy="356875"/>
          </a:xfrm>
          <a:prstGeom prst="roundRect">
            <a:avLst/>
          </a:prstGeom>
          <a:solidFill>
            <a:srgbClr val="17448E"/>
          </a:solidFill>
          <a:ln w="19050" cap="flat" cmpd="sng" algn="ctr">
            <a:solidFill>
              <a:srgbClr val="17448E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rPr>
              <a:t>Støtte og hjelp fra andre kommuner, organisert av KS</a:t>
            </a:r>
          </a:p>
        </p:txBody>
      </p:sp>
      <p:sp>
        <p:nvSpPr>
          <p:cNvPr id="31" name="Rectangle: Rounded Corners 5">
            <a:extLst>
              <a:ext uri="{FF2B5EF4-FFF2-40B4-BE49-F238E27FC236}">
                <a16:creationId xmlns:a16="http://schemas.microsoft.com/office/drawing/2014/main" id="{103C5D28-7ABA-D7DB-597B-00CDADA6D0BC}"/>
              </a:ext>
            </a:extLst>
          </p:cNvPr>
          <p:cNvSpPr>
            <a:spLocks/>
          </p:cNvSpPr>
          <p:nvPr/>
        </p:nvSpPr>
        <p:spPr>
          <a:xfrm>
            <a:off x="9947563" y="5718629"/>
            <a:ext cx="1697182" cy="356875"/>
          </a:xfrm>
          <a:prstGeom prst="roundRect">
            <a:avLst/>
          </a:prstGeom>
          <a:solidFill>
            <a:srgbClr val="2A69BD"/>
          </a:solidFill>
          <a:ln w="19050" cap="flat" cmpd="sng" algn="ctr">
            <a:solidFill>
              <a:srgbClr val="2A69BD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rPr>
              <a:t>Selvstendig</a:t>
            </a:r>
          </a:p>
        </p:txBody>
      </p:sp>
    </p:spTree>
    <p:extLst>
      <p:ext uri="{BB962C8B-B14F-4D97-AF65-F5344CB8AC3E}">
        <p14:creationId xmlns:p14="http://schemas.microsoft.com/office/powerpoint/2010/main" val="345348684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: avrundede hjørner 1">
            <a:extLst>
              <a:ext uri="{FF2B5EF4-FFF2-40B4-BE49-F238E27FC236}">
                <a16:creationId xmlns:a16="http://schemas.microsoft.com/office/drawing/2014/main" id="{34836F72-5DFC-F8EF-945F-30F5761CFA08}"/>
              </a:ext>
            </a:extLst>
          </p:cNvPr>
          <p:cNvSpPr/>
          <p:nvPr/>
        </p:nvSpPr>
        <p:spPr>
          <a:xfrm>
            <a:off x="821093" y="1810140"/>
            <a:ext cx="1838131" cy="88640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dirty="0"/>
              <a:t>Regulatorisk støtte (DPIA++)</a:t>
            </a:r>
          </a:p>
        </p:txBody>
      </p:sp>
      <p:sp>
        <p:nvSpPr>
          <p:cNvPr id="3" name="Rektangel: avrundede hjørner 2">
            <a:extLst>
              <a:ext uri="{FF2B5EF4-FFF2-40B4-BE49-F238E27FC236}">
                <a16:creationId xmlns:a16="http://schemas.microsoft.com/office/drawing/2014/main" id="{F65A0C71-54CA-0876-8C18-E60C1AA9E754}"/>
              </a:ext>
            </a:extLst>
          </p:cNvPr>
          <p:cNvSpPr/>
          <p:nvPr/>
        </p:nvSpPr>
        <p:spPr>
          <a:xfrm>
            <a:off x="2951583" y="1810140"/>
            <a:ext cx="1838131" cy="88640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dirty="0"/>
              <a:t>Plan for gevinstrealisering og endringsledelse </a:t>
            </a:r>
          </a:p>
        </p:txBody>
      </p:sp>
      <p:sp>
        <p:nvSpPr>
          <p:cNvPr id="4" name="Rektangel: avrundede hjørner 3">
            <a:extLst>
              <a:ext uri="{FF2B5EF4-FFF2-40B4-BE49-F238E27FC236}">
                <a16:creationId xmlns:a16="http://schemas.microsoft.com/office/drawing/2014/main" id="{C9866182-782B-1E6D-EEAB-327EB22C13C7}"/>
              </a:ext>
            </a:extLst>
          </p:cNvPr>
          <p:cNvSpPr/>
          <p:nvPr/>
        </p:nvSpPr>
        <p:spPr>
          <a:xfrm>
            <a:off x="5190931" y="1810140"/>
            <a:ext cx="1838131" cy="88640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dirty="0"/>
              <a:t>Koordinering og erfaringsdeling</a:t>
            </a:r>
          </a:p>
        </p:txBody>
      </p:sp>
      <p:sp>
        <p:nvSpPr>
          <p:cNvPr id="5" name="Rektangel: avrundede hjørner 4">
            <a:extLst>
              <a:ext uri="{FF2B5EF4-FFF2-40B4-BE49-F238E27FC236}">
                <a16:creationId xmlns:a16="http://schemas.microsoft.com/office/drawing/2014/main" id="{1B2D8981-5243-CE69-9212-566D897EE666}"/>
              </a:ext>
            </a:extLst>
          </p:cNvPr>
          <p:cNvSpPr/>
          <p:nvPr/>
        </p:nvSpPr>
        <p:spPr>
          <a:xfrm>
            <a:off x="7330751" y="1810140"/>
            <a:ext cx="1838131" cy="88640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dirty="0"/>
              <a:t>Støtte til anskaffelser</a:t>
            </a:r>
          </a:p>
        </p:txBody>
      </p:sp>
      <p:sp>
        <p:nvSpPr>
          <p:cNvPr id="6" name="Rektangel: avrundede hjørner 5">
            <a:extLst>
              <a:ext uri="{FF2B5EF4-FFF2-40B4-BE49-F238E27FC236}">
                <a16:creationId xmlns:a16="http://schemas.microsoft.com/office/drawing/2014/main" id="{4EF6A0B2-6869-79D5-45FF-E3CA68A6503D}"/>
              </a:ext>
            </a:extLst>
          </p:cNvPr>
          <p:cNvSpPr/>
          <p:nvPr/>
        </p:nvSpPr>
        <p:spPr>
          <a:xfrm>
            <a:off x="9554547" y="1810140"/>
            <a:ext cx="1838131" cy="88640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dirty="0"/>
              <a:t>Nasjonal innføringsmodell</a:t>
            </a:r>
          </a:p>
        </p:txBody>
      </p:sp>
      <p:sp>
        <p:nvSpPr>
          <p:cNvPr id="7" name="Rektangel: avrundede hjørner 6">
            <a:extLst>
              <a:ext uri="{FF2B5EF4-FFF2-40B4-BE49-F238E27FC236}">
                <a16:creationId xmlns:a16="http://schemas.microsoft.com/office/drawing/2014/main" id="{E7CA9FCB-F12E-DBC7-CE7E-75E68B08F982}"/>
              </a:ext>
            </a:extLst>
          </p:cNvPr>
          <p:cNvSpPr/>
          <p:nvPr/>
        </p:nvSpPr>
        <p:spPr>
          <a:xfrm>
            <a:off x="821093" y="3470988"/>
            <a:ext cx="1838131" cy="88640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dirty="0"/>
              <a:t>Dataforvaltning</a:t>
            </a:r>
          </a:p>
        </p:txBody>
      </p:sp>
      <p:sp>
        <p:nvSpPr>
          <p:cNvPr id="8" name="Rektangel: avrundede hjørner 7">
            <a:extLst>
              <a:ext uri="{FF2B5EF4-FFF2-40B4-BE49-F238E27FC236}">
                <a16:creationId xmlns:a16="http://schemas.microsoft.com/office/drawing/2014/main" id="{FAFAD4E3-C3C7-962F-99D4-F8DFD99288DD}"/>
              </a:ext>
            </a:extLst>
          </p:cNvPr>
          <p:cNvSpPr/>
          <p:nvPr/>
        </p:nvSpPr>
        <p:spPr>
          <a:xfrm>
            <a:off x="2951583" y="3470988"/>
            <a:ext cx="1838131" cy="88640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dirty="0"/>
              <a:t>Juridisk KI-kompetanse</a:t>
            </a:r>
          </a:p>
        </p:txBody>
      </p:sp>
      <p:sp>
        <p:nvSpPr>
          <p:cNvPr id="9" name="Rektangel: avrundede hjørner 8">
            <a:extLst>
              <a:ext uri="{FF2B5EF4-FFF2-40B4-BE49-F238E27FC236}">
                <a16:creationId xmlns:a16="http://schemas.microsoft.com/office/drawing/2014/main" id="{BBAA6FD1-6110-8DE4-603E-CAE84E1E66D6}"/>
              </a:ext>
            </a:extLst>
          </p:cNvPr>
          <p:cNvSpPr/>
          <p:nvPr/>
        </p:nvSpPr>
        <p:spPr>
          <a:xfrm>
            <a:off x="5190931" y="3470988"/>
            <a:ext cx="1838131" cy="88640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dirty="0"/>
              <a:t>Videreutvikle modell for gevinstrealisering</a:t>
            </a:r>
          </a:p>
        </p:txBody>
      </p:sp>
      <p:sp>
        <p:nvSpPr>
          <p:cNvPr id="10" name="Rektangel: avrundede hjørner 9">
            <a:extLst>
              <a:ext uri="{FF2B5EF4-FFF2-40B4-BE49-F238E27FC236}">
                <a16:creationId xmlns:a16="http://schemas.microsoft.com/office/drawing/2014/main" id="{F89BA0B2-9FBA-C19B-60A9-2D6A5284A060}"/>
              </a:ext>
            </a:extLst>
          </p:cNvPr>
          <p:cNvSpPr/>
          <p:nvPr/>
        </p:nvSpPr>
        <p:spPr>
          <a:xfrm>
            <a:off x="7330751" y="3470988"/>
            <a:ext cx="1838131" cy="88640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dirty="0"/>
              <a:t>Kompetanse-utvikling</a:t>
            </a:r>
          </a:p>
        </p:txBody>
      </p:sp>
      <p:sp>
        <p:nvSpPr>
          <p:cNvPr id="12" name="Rektangel: avrundede hjørner 11">
            <a:extLst>
              <a:ext uri="{FF2B5EF4-FFF2-40B4-BE49-F238E27FC236}">
                <a16:creationId xmlns:a16="http://schemas.microsoft.com/office/drawing/2014/main" id="{65E59A45-C11F-B0AD-D20C-290C0085D40D}"/>
              </a:ext>
            </a:extLst>
          </p:cNvPr>
          <p:cNvSpPr/>
          <p:nvPr/>
        </p:nvSpPr>
        <p:spPr>
          <a:xfrm>
            <a:off x="821093" y="5256245"/>
            <a:ext cx="1838131" cy="88640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dirty="0"/>
              <a:t>Nasjonalt kompetansesenter for KI</a:t>
            </a:r>
          </a:p>
        </p:txBody>
      </p:sp>
      <p:sp>
        <p:nvSpPr>
          <p:cNvPr id="13" name="Rektangel: avrundede hjørner 12">
            <a:extLst>
              <a:ext uri="{FF2B5EF4-FFF2-40B4-BE49-F238E27FC236}">
                <a16:creationId xmlns:a16="http://schemas.microsoft.com/office/drawing/2014/main" id="{59890D16-49DD-27E9-7898-3B43C0695685}"/>
              </a:ext>
            </a:extLst>
          </p:cNvPr>
          <p:cNvSpPr/>
          <p:nvPr/>
        </p:nvSpPr>
        <p:spPr>
          <a:xfrm>
            <a:off x="2951583" y="5256245"/>
            <a:ext cx="1838131" cy="88640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dirty="0"/>
              <a:t>Videreutvikle samarbeid og erfaringsdeling</a:t>
            </a:r>
          </a:p>
        </p:txBody>
      </p:sp>
      <p:sp>
        <p:nvSpPr>
          <p:cNvPr id="14" name="Rektangel: avrundede hjørner 13">
            <a:extLst>
              <a:ext uri="{FF2B5EF4-FFF2-40B4-BE49-F238E27FC236}">
                <a16:creationId xmlns:a16="http://schemas.microsoft.com/office/drawing/2014/main" id="{9986865E-1AC3-BF93-EB96-35236A794211}"/>
              </a:ext>
            </a:extLst>
          </p:cNvPr>
          <p:cNvSpPr/>
          <p:nvPr/>
        </p:nvSpPr>
        <p:spPr>
          <a:xfrm>
            <a:off x="5190931" y="5256245"/>
            <a:ext cx="1838131" cy="88640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dirty="0"/>
              <a:t>Nasjonale anskaffelser</a:t>
            </a:r>
          </a:p>
        </p:txBody>
      </p:sp>
      <p:sp>
        <p:nvSpPr>
          <p:cNvPr id="15" name="Tittel 3">
            <a:extLst>
              <a:ext uri="{FF2B5EF4-FFF2-40B4-BE49-F238E27FC236}">
                <a16:creationId xmlns:a16="http://schemas.microsoft.com/office/drawing/2014/main" id="{741CA13B-B328-4260-6F6E-F63441934EE8}"/>
              </a:ext>
            </a:extLst>
          </p:cNvPr>
          <p:cNvSpPr txBox="1">
            <a:spLocks/>
          </p:cNvSpPr>
          <p:nvPr/>
        </p:nvSpPr>
        <p:spPr>
          <a:xfrm>
            <a:off x="609600" y="441235"/>
            <a:ext cx="10972800" cy="1143000"/>
          </a:xfrm>
          <a:prstGeom prst="rect">
            <a:avLst/>
          </a:prstGeom>
        </p:spPr>
        <p:txBody>
          <a:bodyPr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rgbClr val="001A58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/>
            <a:r>
              <a:rPr lang="nb-NO" sz="3200" b="1" dirty="0">
                <a:latin typeface="+mn-lt"/>
              </a:rPr>
              <a:t>Konkretisering  - felles arbeid, i fellesskap</a:t>
            </a:r>
            <a:br>
              <a:rPr lang="nb-NO" sz="3200" b="1" dirty="0">
                <a:latin typeface="+mn-lt"/>
              </a:rPr>
            </a:br>
            <a:endParaRPr lang="nb-NO" sz="3200" b="1" dirty="0">
              <a:latin typeface="+mn-lt"/>
            </a:endParaRPr>
          </a:p>
        </p:txBody>
      </p:sp>
      <p:sp>
        <p:nvSpPr>
          <p:cNvPr id="16" name="TekstSylinder 15">
            <a:extLst>
              <a:ext uri="{FF2B5EF4-FFF2-40B4-BE49-F238E27FC236}">
                <a16:creationId xmlns:a16="http://schemas.microsoft.com/office/drawing/2014/main" id="{82E6DD35-EA5E-035C-3C73-E0D87911DDEF}"/>
              </a:ext>
            </a:extLst>
          </p:cNvPr>
          <p:cNvSpPr txBox="1"/>
          <p:nvPr/>
        </p:nvSpPr>
        <p:spPr>
          <a:xfrm>
            <a:off x="821093" y="1317534"/>
            <a:ext cx="898003" cy="36933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nb-NO" dirty="0"/>
              <a:t>I arbeid</a:t>
            </a:r>
          </a:p>
        </p:txBody>
      </p:sp>
      <p:sp>
        <p:nvSpPr>
          <p:cNvPr id="17" name="TekstSylinder 16">
            <a:extLst>
              <a:ext uri="{FF2B5EF4-FFF2-40B4-BE49-F238E27FC236}">
                <a16:creationId xmlns:a16="http://schemas.microsoft.com/office/drawing/2014/main" id="{693A30EF-0412-83A0-9655-21ED9813B79C}"/>
              </a:ext>
            </a:extLst>
          </p:cNvPr>
          <p:cNvSpPr txBox="1"/>
          <p:nvPr/>
        </p:nvSpPr>
        <p:spPr>
          <a:xfrm>
            <a:off x="846819" y="2999015"/>
            <a:ext cx="2233240" cy="36933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nb-NO" dirty="0"/>
              <a:t>Bygge varig kapasitet</a:t>
            </a:r>
          </a:p>
        </p:txBody>
      </p:sp>
      <p:sp>
        <p:nvSpPr>
          <p:cNvPr id="18" name="TekstSylinder 17">
            <a:extLst>
              <a:ext uri="{FF2B5EF4-FFF2-40B4-BE49-F238E27FC236}">
                <a16:creationId xmlns:a16="http://schemas.microsoft.com/office/drawing/2014/main" id="{9A44C8ED-7DEB-E858-1DF6-B8276CA9184D}"/>
              </a:ext>
            </a:extLst>
          </p:cNvPr>
          <p:cNvSpPr txBox="1"/>
          <p:nvPr/>
        </p:nvSpPr>
        <p:spPr>
          <a:xfrm>
            <a:off x="846819" y="4784272"/>
            <a:ext cx="1155829" cy="36933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nb-NO" dirty="0"/>
              <a:t>Store grep</a:t>
            </a:r>
          </a:p>
        </p:txBody>
      </p:sp>
    </p:spTree>
    <p:extLst>
      <p:ext uri="{BB962C8B-B14F-4D97-AF65-F5344CB8AC3E}">
        <p14:creationId xmlns:p14="http://schemas.microsoft.com/office/powerpoint/2010/main" val="25248203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Forretningsmann som går på en rød line">
            <a:extLst>
              <a:ext uri="{FF2B5EF4-FFF2-40B4-BE49-F238E27FC236}">
                <a16:creationId xmlns:a16="http://schemas.microsoft.com/office/drawing/2014/main" id="{9125EA19-5833-2AB7-EA2B-E04016DDF44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33" b="3354"/>
          <a:stretch>
            <a:fillRect/>
          </a:stretch>
        </p:blipFill>
        <p:spPr>
          <a:xfrm>
            <a:off x="20" y="10"/>
            <a:ext cx="12191980" cy="6857990"/>
          </a:xfrm>
          <a:prstGeom prst="rect">
            <a:avLst/>
          </a:prstGeom>
          <a:noFill/>
        </p:spPr>
      </p:pic>
      <p:sp>
        <p:nvSpPr>
          <p:cNvPr id="4" name="Tittel 1">
            <a:extLst>
              <a:ext uri="{FF2B5EF4-FFF2-40B4-BE49-F238E27FC236}">
                <a16:creationId xmlns:a16="http://schemas.microsoft.com/office/drawing/2014/main" id="{CC4BC288-44AB-AFC0-917A-2BA47E56C1F8}"/>
              </a:ext>
            </a:extLst>
          </p:cNvPr>
          <p:cNvSpPr txBox="1">
            <a:spLocks/>
          </p:cNvSpPr>
          <p:nvPr/>
        </p:nvSpPr>
        <p:spPr>
          <a:xfrm>
            <a:off x="1219200" y="5619098"/>
            <a:ext cx="10972800" cy="1132114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rgbClr val="001A58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32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SansProRegular"/>
              </a:rPr>
              <a:t>80% opplever gevinstrealisering ved digitalisering som meget eller ganske utfordrende, </a:t>
            </a:r>
            <a:r>
              <a:rPr lang="nb-NO" sz="105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SansProRegular"/>
              </a:rPr>
              <a:t>Arbeidsgivermonitor 2025</a:t>
            </a:r>
          </a:p>
        </p:txBody>
      </p:sp>
    </p:spTree>
    <p:extLst>
      <p:ext uri="{BB962C8B-B14F-4D97-AF65-F5344CB8AC3E}">
        <p14:creationId xmlns:p14="http://schemas.microsoft.com/office/powerpoint/2010/main" val="42913444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Person som holder en hånd">
            <a:extLst>
              <a:ext uri="{FF2B5EF4-FFF2-40B4-BE49-F238E27FC236}">
                <a16:creationId xmlns:a16="http://schemas.microsoft.com/office/drawing/2014/main" id="{1A673D7B-9CF8-8C9A-3ED7-FF089BF6112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403" b="10328"/>
          <a:stretch/>
        </p:blipFill>
        <p:spPr>
          <a:xfrm>
            <a:off x="20" y="10"/>
            <a:ext cx="12191980" cy="6857990"/>
          </a:xfrm>
          <a:prstGeom prst="rect">
            <a:avLst/>
          </a:prstGeom>
          <a:noFill/>
        </p:spPr>
      </p:pic>
      <p:sp>
        <p:nvSpPr>
          <p:cNvPr id="4" name="TekstSylinder 3">
            <a:extLst>
              <a:ext uri="{FF2B5EF4-FFF2-40B4-BE49-F238E27FC236}">
                <a16:creationId xmlns:a16="http://schemas.microsoft.com/office/drawing/2014/main" id="{751B4ACA-80DA-FF4F-182F-C2B2B54B3FFF}"/>
              </a:ext>
            </a:extLst>
          </p:cNvPr>
          <p:cNvSpPr txBox="1"/>
          <p:nvPr/>
        </p:nvSpPr>
        <p:spPr>
          <a:xfrm>
            <a:off x="265028" y="375752"/>
            <a:ext cx="5760167" cy="64633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nb-NO" sz="3600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Det handler om å skape tillit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A22BA931-B934-79BC-A371-B50FBD82FF5F}"/>
              </a:ext>
            </a:extLst>
          </p:cNvPr>
          <p:cNvSpPr txBox="1"/>
          <p:nvPr/>
        </p:nvSpPr>
        <p:spPr>
          <a:xfrm>
            <a:off x="47133" y="6645894"/>
            <a:ext cx="116730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100" dirty="0"/>
              <a:t>Kilde: stockbilder</a:t>
            </a:r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AA867039-C763-D827-9364-7A0BD7FDF4C3}"/>
              </a:ext>
            </a:extLst>
          </p:cNvPr>
          <p:cNvSpPr txBox="1"/>
          <p:nvPr/>
        </p:nvSpPr>
        <p:spPr>
          <a:xfrm>
            <a:off x="1482802" y="5914768"/>
            <a:ext cx="6816994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4400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akk for oppmerksomheten!</a:t>
            </a:r>
          </a:p>
        </p:txBody>
      </p:sp>
    </p:spTree>
    <p:extLst>
      <p:ext uri="{BB962C8B-B14F-4D97-AF65-F5344CB8AC3E}">
        <p14:creationId xmlns:p14="http://schemas.microsoft.com/office/powerpoint/2010/main" val="8196182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 descr="Person som holder en hånd">
            <a:extLst>
              <a:ext uri="{FF2B5EF4-FFF2-40B4-BE49-F238E27FC236}">
                <a16:creationId xmlns:a16="http://schemas.microsoft.com/office/drawing/2014/main" id="{64B8DC8F-E374-B1CD-2595-D6A211C9C60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30" b="10201"/>
          <a:stretch/>
        </p:blipFill>
        <p:spPr>
          <a:xfrm>
            <a:off x="20" y="10"/>
            <a:ext cx="12191980" cy="6857990"/>
          </a:xfrm>
          <a:prstGeom prst="rect">
            <a:avLst/>
          </a:prstGeom>
          <a:noFill/>
        </p:spPr>
      </p:pic>
      <p:sp>
        <p:nvSpPr>
          <p:cNvPr id="2" name="TekstSylinder 1">
            <a:extLst>
              <a:ext uri="{FF2B5EF4-FFF2-40B4-BE49-F238E27FC236}">
                <a16:creationId xmlns:a16="http://schemas.microsoft.com/office/drawing/2014/main" id="{5FF7BE6E-9D16-D1FA-3582-8C42B7ECBC99}"/>
              </a:ext>
            </a:extLst>
          </p:cNvPr>
          <p:cNvSpPr txBox="1"/>
          <p:nvPr/>
        </p:nvSpPr>
        <p:spPr>
          <a:xfrm>
            <a:off x="294199" y="344998"/>
            <a:ext cx="430320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40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t godt, rettferdig og likeverdig helsetilbud</a:t>
            </a:r>
            <a:endParaRPr lang="nb-NO" sz="4000">
              <a:ln w="0"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4B8FB0A9-37A6-287B-58EF-630FE7B795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734" y="3948060"/>
            <a:ext cx="1315597" cy="184349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Bilde 10">
            <a:extLst>
              <a:ext uri="{FF2B5EF4-FFF2-40B4-BE49-F238E27FC236}">
                <a16:creationId xmlns:a16="http://schemas.microsoft.com/office/drawing/2014/main" id="{1061AE7E-26D1-D8CD-2BA9-9846705B27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25912" y="3989689"/>
            <a:ext cx="1197354" cy="172055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TekstSylinder 3">
            <a:extLst>
              <a:ext uri="{FF2B5EF4-FFF2-40B4-BE49-F238E27FC236}">
                <a16:creationId xmlns:a16="http://schemas.microsoft.com/office/drawing/2014/main" id="{D35DB49D-331D-E4B4-AFBE-A5432ED2A7C2}"/>
              </a:ext>
            </a:extLst>
          </p:cNvPr>
          <p:cNvSpPr txBox="1"/>
          <p:nvPr/>
        </p:nvSpPr>
        <p:spPr>
          <a:xfrm>
            <a:off x="225000" y="5544373"/>
            <a:ext cx="5341079" cy="95410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nb-NO" sz="1400" i="1"/>
              <a:t>«Dersom digitalisering og teknologi </a:t>
            </a:r>
            <a:r>
              <a:rPr lang="nb-NO" sz="1400" i="1" u="sng"/>
              <a:t>utvikles, implementeres og anvendes riktig, kan det bidra til økt effektivitet </a:t>
            </a:r>
            <a:r>
              <a:rPr lang="nb-NO" sz="1400" i="1"/>
              <a:t>og til at minimumsfaktoren i helse og omsorgstjenesten – personellet – i enda større grad brukes til å ivareta kjerneoppgavene sine.»</a:t>
            </a: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68026179-0ABE-85BC-FF6D-C9AAAD95D213}"/>
              </a:ext>
            </a:extLst>
          </p:cNvPr>
          <p:cNvSpPr txBox="1"/>
          <p:nvPr/>
        </p:nvSpPr>
        <p:spPr>
          <a:xfrm>
            <a:off x="5791059" y="5544373"/>
            <a:ext cx="6096000" cy="73866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nb-NO" sz="1400" i="1"/>
              <a:t>«…stimulere til lokal gjennomføring av tiltak for en </a:t>
            </a:r>
            <a:r>
              <a:rPr lang="nb-NO" sz="1400" i="1" u="sng"/>
              <a:t>bedre arbeidshverdag for dem som jobber i tjenesten, innføring av personellbesparende digitale løsninger og teknologi, bedre pasientforløp og mer effektiv ressursbruk</a:t>
            </a:r>
            <a:r>
              <a:rPr lang="nb-NO" sz="1400" i="1"/>
              <a:t>.»</a:t>
            </a:r>
          </a:p>
        </p:txBody>
      </p:sp>
    </p:spTree>
    <p:extLst>
      <p:ext uri="{BB962C8B-B14F-4D97-AF65-F5344CB8AC3E}">
        <p14:creationId xmlns:p14="http://schemas.microsoft.com/office/powerpoint/2010/main" val="21237526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055808-84C7-E003-9CEB-716BF2AF8D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 descr="3D-gjengivelse av et rødt tak Amidst White-hus">
            <a:extLst>
              <a:ext uri="{FF2B5EF4-FFF2-40B4-BE49-F238E27FC236}">
                <a16:creationId xmlns:a16="http://schemas.microsoft.com/office/drawing/2014/main" id="{9279B892-46EB-B0A1-21D7-119111AFA74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4" y="0"/>
            <a:ext cx="12191356" cy="6858000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A2CB458-DCFE-9B51-F292-E4C67CC0C9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A2CB458-DCFE-9B51-F292-E4C67CC0C9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: avrundede hjørner 3">
            <a:extLst>
              <a:ext uri="{FF2B5EF4-FFF2-40B4-BE49-F238E27FC236}">
                <a16:creationId xmlns:a16="http://schemas.microsoft.com/office/drawing/2014/main" id="{10CFC280-6305-B182-6AA0-8E1473F03895}"/>
              </a:ext>
            </a:extLst>
          </p:cNvPr>
          <p:cNvSpPr/>
          <p:nvPr/>
        </p:nvSpPr>
        <p:spPr>
          <a:xfrm>
            <a:off x="4841817" y="1743015"/>
            <a:ext cx="2384499" cy="1153297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/>
              <a:t>Elektronisk Pasientjournaler</a:t>
            </a:r>
          </a:p>
        </p:txBody>
      </p:sp>
      <p:sp>
        <p:nvSpPr>
          <p:cNvPr id="42" name="Rektangel: avrundede hjørner 41">
            <a:extLst>
              <a:ext uri="{FF2B5EF4-FFF2-40B4-BE49-F238E27FC236}">
                <a16:creationId xmlns:a16="http://schemas.microsoft.com/office/drawing/2014/main" id="{74EBF8FE-97F8-6775-114D-80B0A16C22A5}"/>
              </a:ext>
            </a:extLst>
          </p:cNvPr>
          <p:cNvSpPr/>
          <p:nvPr/>
        </p:nvSpPr>
        <p:spPr>
          <a:xfrm>
            <a:off x="2112413" y="1743014"/>
            <a:ext cx="2384499" cy="1153297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dirty="0"/>
              <a:t>Helsenorge</a:t>
            </a:r>
          </a:p>
        </p:txBody>
      </p:sp>
      <p:sp>
        <p:nvSpPr>
          <p:cNvPr id="43" name="Rektangel: avrundede hjørner 42">
            <a:extLst>
              <a:ext uri="{FF2B5EF4-FFF2-40B4-BE49-F238E27FC236}">
                <a16:creationId xmlns:a16="http://schemas.microsoft.com/office/drawing/2014/main" id="{3709722D-84B8-C34D-4EF6-4FF51C736043}"/>
              </a:ext>
            </a:extLst>
          </p:cNvPr>
          <p:cNvSpPr/>
          <p:nvPr/>
        </p:nvSpPr>
        <p:spPr>
          <a:xfrm>
            <a:off x="7544085" y="1743013"/>
            <a:ext cx="2384499" cy="1153297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/>
              <a:t>Velferdsteknologi og digital hjemmeoppfølging</a:t>
            </a:r>
          </a:p>
        </p:txBody>
      </p:sp>
      <p:pic>
        <p:nvPicPr>
          <p:cNvPr id="7" name="Grafikk 6" descr="Familie med to barn">
            <a:extLst>
              <a:ext uri="{FF2B5EF4-FFF2-40B4-BE49-F238E27FC236}">
                <a16:creationId xmlns:a16="http://schemas.microsoft.com/office/drawing/2014/main" id="{30853D06-6399-FF7C-6695-B4B6136716D0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563299" y="4331885"/>
            <a:ext cx="914400" cy="914400"/>
          </a:xfrm>
          <a:prstGeom prst="rect">
            <a:avLst/>
          </a:prstGeom>
        </p:spPr>
      </p:pic>
      <p:sp>
        <p:nvSpPr>
          <p:cNvPr id="8" name="Tittel 1">
            <a:extLst>
              <a:ext uri="{FF2B5EF4-FFF2-40B4-BE49-F238E27FC236}">
                <a16:creationId xmlns:a16="http://schemas.microsoft.com/office/drawing/2014/main" id="{0C3DFAB0-E1A5-2DFD-7DFB-6AAD8BBA33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88682"/>
            <a:ext cx="10972800" cy="1132114"/>
          </a:xfrm>
        </p:spPr>
        <p:txBody>
          <a:bodyPr>
            <a:normAutofit/>
          </a:bodyPr>
          <a:lstStyle/>
          <a:p>
            <a:pPr algn="l"/>
            <a:r>
              <a:rPr lang="nb-NO" sz="32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SansProRegular"/>
              </a:rPr>
              <a:t>Mye som pågår innen eHelse, på mange områder parallelt</a:t>
            </a:r>
            <a:endParaRPr lang="nb-NO" sz="1050" i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SourceSansProRegular"/>
            </a:endParaRPr>
          </a:p>
        </p:txBody>
      </p:sp>
      <p:grpSp>
        <p:nvGrpSpPr>
          <p:cNvPr id="25" name="Gruppe 24">
            <a:extLst>
              <a:ext uri="{FF2B5EF4-FFF2-40B4-BE49-F238E27FC236}">
                <a16:creationId xmlns:a16="http://schemas.microsoft.com/office/drawing/2014/main" id="{A7DCE7AE-7164-270F-99CF-6057B764F4C2}"/>
              </a:ext>
            </a:extLst>
          </p:cNvPr>
          <p:cNvGrpSpPr/>
          <p:nvPr/>
        </p:nvGrpSpPr>
        <p:grpSpPr>
          <a:xfrm>
            <a:off x="6034067" y="2896312"/>
            <a:ext cx="4633195" cy="2969687"/>
            <a:chOff x="6034067" y="2896312"/>
            <a:chExt cx="4633195" cy="2969687"/>
          </a:xfrm>
        </p:grpSpPr>
        <p:sp>
          <p:nvSpPr>
            <p:cNvPr id="3" name="Rektangel: avrundede hjørner 2">
              <a:extLst>
                <a:ext uri="{FF2B5EF4-FFF2-40B4-BE49-F238E27FC236}">
                  <a16:creationId xmlns:a16="http://schemas.microsoft.com/office/drawing/2014/main" id="{B4DAD287-8E77-D359-A163-D58DD84B8CF7}"/>
                </a:ext>
              </a:extLst>
            </p:cNvPr>
            <p:cNvSpPr/>
            <p:nvPr/>
          </p:nvSpPr>
          <p:spPr>
            <a:xfrm>
              <a:off x="8282763" y="3817088"/>
              <a:ext cx="2384499" cy="1275907"/>
            </a:xfrm>
            <a:prstGeom prst="roundRect">
              <a:avLst/>
            </a:prstGeom>
            <a:solidFill>
              <a:schemeClr val="accent4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/>
                <a:t>Felles journalløft</a:t>
              </a:r>
            </a:p>
          </p:txBody>
        </p:sp>
        <p:cxnSp>
          <p:nvCxnSpPr>
            <p:cNvPr id="12" name="Kobling: vinkel 11">
              <a:extLst>
                <a:ext uri="{FF2B5EF4-FFF2-40B4-BE49-F238E27FC236}">
                  <a16:creationId xmlns:a16="http://schemas.microsoft.com/office/drawing/2014/main" id="{B2C90A46-BD0A-978D-24B0-3F9815E76424}"/>
                </a:ext>
              </a:extLst>
            </p:cNvPr>
            <p:cNvCxnSpPr>
              <a:cxnSpLocks/>
              <a:stCxn id="3" idx="0"/>
              <a:endCxn id="4" idx="2"/>
            </p:cNvCxnSpPr>
            <p:nvPr/>
          </p:nvCxnSpPr>
          <p:spPr>
            <a:xfrm rot="16200000" flipV="1">
              <a:off x="7294152" y="1636227"/>
              <a:ext cx="920776" cy="3440946"/>
            </a:xfrm>
            <a:prstGeom prst="bentConnector3">
              <a:avLst>
                <a:gd name="adj1" fmla="val 50000"/>
              </a:avLst>
            </a:prstGeom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22" name="Kobling: vinkel 21">
              <a:extLst>
                <a:ext uri="{FF2B5EF4-FFF2-40B4-BE49-F238E27FC236}">
                  <a16:creationId xmlns:a16="http://schemas.microsoft.com/office/drawing/2014/main" id="{11420D8D-E3E5-95F2-0944-135C97D1CB93}"/>
                </a:ext>
              </a:extLst>
            </p:cNvPr>
            <p:cNvCxnSpPr>
              <a:cxnSpLocks/>
              <a:stCxn id="3" idx="2"/>
              <a:endCxn id="30" idx="0"/>
            </p:cNvCxnSpPr>
            <p:nvPr/>
          </p:nvCxnSpPr>
          <p:spPr>
            <a:xfrm rot="16200000" flipH="1">
              <a:off x="9649257" y="4918751"/>
              <a:ext cx="773004" cy="1121492"/>
            </a:xfrm>
            <a:prstGeom prst="bentConnector3">
              <a:avLst/>
            </a:prstGeom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</p:grpSp>
      <p:grpSp>
        <p:nvGrpSpPr>
          <p:cNvPr id="9" name="Gruppe 8">
            <a:extLst>
              <a:ext uri="{FF2B5EF4-FFF2-40B4-BE49-F238E27FC236}">
                <a16:creationId xmlns:a16="http://schemas.microsoft.com/office/drawing/2014/main" id="{910A4821-CCF9-238B-97FB-50108042AF16}"/>
              </a:ext>
            </a:extLst>
          </p:cNvPr>
          <p:cNvGrpSpPr/>
          <p:nvPr/>
        </p:nvGrpSpPr>
        <p:grpSpPr>
          <a:xfrm>
            <a:off x="1158574" y="2896313"/>
            <a:ext cx="4875492" cy="2206964"/>
            <a:chOff x="8282763" y="2886031"/>
            <a:chExt cx="4875492" cy="2206964"/>
          </a:xfrm>
        </p:grpSpPr>
        <p:sp>
          <p:nvSpPr>
            <p:cNvPr id="17" name="Rektangel: avrundede hjørner 16">
              <a:extLst>
                <a:ext uri="{FF2B5EF4-FFF2-40B4-BE49-F238E27FC236}">
                  <a16:creationId xmlns:a16="http://schemas.microsoft.com/office/drawing/2014/main" id="{B1EE2CD4-9A78-952A-1A3C-C46AA30A4347}"/>
                </a:ext>
              </a:extLst>
            </p:cNvPr>
            <p:cNvSpPr/>
            <p:nvPr/>
          </p:nvSpPr>
          <p:spPr>
            <a:xfrm>
              <a:off x="8282763" y="3817088"/>
              <a:ext cx="2384499" cy="1275907"/>
            </a:xfrm>
            <a:prstGeom prst="roundRect">
              <a:avLst/>
            </a:prstGeom>
            <a:solidFill>
              <a:schemeClr val="accent5">
                <a:lumMod val="50000"/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/>
                <a:t>KI</a:t>
              </a:r>
            </a:p>
          </p:txBody>
        </p:sp>
        <p:cxnSp>
          <p:nvCxnSpPr>
            <p:cNvPr id="21" name="Kobling: vinkel 20">
              <a:extLst>
                <a:ext uri="{FF2B5EF4-FFF2-40B4-BE49-F238E27FC236}">
                  <a16:creationId xmlns:a16="http://schemas.microsoft.com/office/drawing/2014/main" id="{79EF3994-EB54-B303-B39F-8A42E07AF03E}"/>
                </a:ext>
              </a:extLst>
            </p:cNvPr>
            <p:cNvCxnSpPr>
              <a:cxnSpLocks/>
            </p:cNvCxnSpPr>
            <p:nvPr/>
          </p:nvCxnSpPr>
          <p:spPr>
            <a:xfrm rot="5400000" flipH="1" flipV="1">
              <a:off x="10833175" y="1492008"/>
              <a:ext cx="931058" cy="3719103"/>
            </a:xfrm>
            <a:prstGeom prst="bentConnector3">
              <a:avLst>
                <a:gd name="adj1" fmla="val 50000"/>
              </a:avLst>
            </a:prstGeom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</p:grpSp>
      <p:grpSp>
        <p:nvGrpSpPr>
          <p:cNvPr id="13" name="Gruppe 12">
            <a:extLst>
              <a:ext uri="{FF2B5EF4-FFF2-40B4-BE49-F238E27FC236}">
                <a16:creationId xmlns:a16="http://schemas.microsoft.com/office/drawing/2014/main" id="{D63E2791-7A02-98C9-C51B-800916FDC812}"/>
              </a:ext>
            </a:extLst>
          </p:cNvPr>
          <p:cNvGrpSpPr/>
          <p:nvPr/>
        </p:nvGrpSpPr>
        <p:grpSpPr>
          <a:xfrm>
            <a:off x="74142" y="5715701"/>
            <a:ext cx="12002530" cy="964734"/>
            <a:chOff x="74142" y="5715701"/>
            <a:chExt cx="12002530" cy="964734"/>
          </a:xfrm>
        </p:grpSpPr>
        <p:grpSp>
          <p:nvGrpSpPr>
            <p:cNvPr id="55" name="Gruppe 54">
              <a:extLst>
                <a:ext uri="{FF2B5EF4-FFF2-40B4-BE49-F238E27FC236}">
                  <a16:creationId xmlns:a16="http://schemas.microsoft.com/office/drawing/2014/main" id="{DDA1E926-30C2-7DD3-99DA-3844AD0D675E}"/>
                </a:ext>
              </a:extLst>
            </p:cNvPr>
            <p:cNvGrpSpPr/>
            <p:nvPr/>
          </p:nvGrpSpPr>
          <p:grpSpPr>
            <a:xfrm>
              <a:off x="74142" y="5715701"/>
              <a:ext cx="12002530" cy="964734"/>
              <a:chOff x="74142" y="2708883"/>
              <a:chExt cx="12002530" cy="964734"/>
            </a:xfrm>
          </p:grpSpPr>
          <p:grpSp>
            <p:nvGrpSpPr>
              <p:cNvPr id="34" name="Gruppe 33">
                <a:extLst>
                  <a:ext uri="{FF2B5EF4-FFF2-40B4-BE49-F238E27FC236}">
                    <a16:creationId xmlns:a16="http://schemas.microsoft.com/office/drawing/2014/main" id="{ACBE596B-8A19-5A38-C5B1-D5F55F446A6D}"/>
                  </a:ext>
                </a:extLst>
              </p:cNvPr>
              <p:cNvGrpSpPr/>
              <p:nvPr/>
            </p:nvGrpSpPr>
            <p:grpSpPr>
              <a:xfrm>
                <a:off x="74142" y="2708883"/>
                <a:ext cx="12002530" cy="964734"/>
                <a:chOff x="74142" y="5410899"/>
                <a:chExt cx="12002530" cy="964734"/>
              </a:xfrm>
            </p:grpSpPr>
            <p:grpSp>
              <p:nvGrpSpPr>
                <p:cNvPr id="28" name="Gruppe 27">
                  <a:extLst>
                    <a:ext uri="{FF2B5EF4-FFF2-40B4-BE49-F238E27FC236}">
                      <a16:creationId xmlns:a16="http://schemas.microsoft.com/office/drawing/2014/main" id="{41AFFEFA-1067-33A6-703F-471003095083}"/>
                    </a:ext>
                  </a:extLst>
                </p:cNvPr>
                <p:cNvGrpSpPr/>
                <p:nvPr/>
              </p:nvGrpSpPr>
              <p:grpSpPr>
                <a:xfrm>
                  <a:off x="74142" y="5410899"/>
                  <a:ext cx="12002530" cy="964734"/>
                  <a:chOff x="304802" y="5410899"/>
                  <a:chExt cx="11392925" cy="964734"/>
                </a:xfrm>
              </p:grpSpPr>
              <p:sp>
                <p:nvSpPr>
                  <p:cNvPr id="2" name="Rektangel: avrundede hjørner 1">
                    <a:extLst>
                      <a:ext uri="{FF2B5EF4-FFF2-40B4-BE49-F238E27FC236}">
                        <a16:creationId xmlns:a16="http://schemas.microsoft.com/office/drawing/2014/main" id="{254A62A5-60C1-C37E-0BDB-A69FAC6ED650}"/>
                      </a:ext>
                    </a:extLst>
                  </p:cNvPr>
                  <p:cNvSpPr/>
                  <p:nvPr/>
                </p:nvSpPr>
                <p:spPr>
                  <a:xfrm>
                    <a:off x="304802" y="5410899"/>
                    <a:ext cx="11392925" cy="964734"/>
                  </a:xfrm>
                  <a:prstGeom prst="roundRect">
                    <a:avLst/>
                  </a:prstGeom>
                  <a:solidFill>
                    <a:schemeClr val="tx2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b-NO" sz="1600" b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" name="Rektangel: avrundede hjørner 13">
                    <a:extLst>
                      <a:ext uri="{FF2B5EF4-FFF2-40B4-BE49-F238E27FC236}">
                        <a16:creationId xmlns:a16="http://schemas.microsoft.com/office/drawing/2014/main" id="{785338E3-4314-D72A-7C91-C28F3FF10C95}"/>
                      </a:ext>
                    </a:extLst>
                  </p:cNvPr>
                  <p:cNvSpPr/>
                  <p:nvPr/>
                </p:nvSpPr>
                <p:spPr>
                  <a:xfrm>
                    <a:off x="2322027" y="5548843"/>
                    <a:ext cx="874351" cy="654660"/>
                  </a:xfrm>
                  <a:prstGeom prst="roundRect">
                    <a:avLst/>
                  </a:prstGeom>
                  <a:ln/>
                </p:spPr>
                <p:style>
                  <a:lnRef idx="2">
                    <a:schemeClr val="accent1"/>
                  </a:lnRef>
                  <a:fillRef idx="1">
                    <a:schemeClr val="lt1"/>
                  </a:fillRef>
                  <a:effectRef idx="0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nb-NO" sz="1000"/>
                      <a:t>Helsekort for gravide</a:t>
                    </a:r>
                  </a:p>
                </p:txBody>
              </p:sp>
              <p:sp>
                <p:nvSpPr>
                  <p:cNvPr id="15" name="Rektangel: avrundede hjørner 14">
                    <a:extLst>
                      <a:ext uri="{FF2B5EF4-FFF2-40B4-BE49-F238E27FC236}">
                        <a16:creationId xmlns:a16="http://schemas.microsoft.com/office/drawing/2014/main" id="{A937B8BA-661B-9244-5428-D111C37FB017}"/>
                      </a:ext>
                    </a:extLst>
                  </p:cNvPr>
                  <p:cNvSpPr/>
                  <p:nvPr/>
                </p:nvSpPr>
                <p:spPr>
                  <a:xfrm>
                    <a:off x="1371594" y="5548843"/>
                    <a:ext cx="874351" cy="654660"/>
                  </a:xfrm>
                  <a:prstGeom prst="roundRect">
                    <a:avLst/>
                  </a:prstGeom>
                  <a:ln/>
                </p:spPr>
                <p:style>
                  <a:lnRef idx="2">
                    <a:schemeClr val="accent1"/>
                  </a:lnRef>
                  <a:fillRef idx="1">
                    <a:schemeClr val="lt1"/>
                  </a:fillRef>
                  <a:effectRef idx="0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nb-NO" sz="1000"/>
                      <a:t>Pasientens legemiddel-liste</a:t>
                    </a:r>
                  </a:p>
                </p:txBody>
              </p:sp>
              <p:sp>
                <p:nvSpPr>
                  <p:cNvPr id="16" name="Rektangel: avrundede hjørner 15">
                    <a:extLst>
                      <a:ext uri="{FF2B5EF4-FFF2-40B4-BE49-F238E27FC236}">
                        <a16:creationId xmlns:a16="http://schemas.microsoft.com/office/drawing/2014/main" id="{042360B5-92E2-F5F7-FC9C-C5491684EF21}"/>
                      </a:ext>
                    </a:extLst>
                  </p:cNvPr>
                  <p:cNvSpPr/>
                  <p:nvPr/>
                </p:nvSpPr>
                <p:spPr>
                  <a:xfrm>
                    <a:off x="7047248" y="5548843"/>
                    <a:ext cx="874351" cy="654660"/>
                  </a:xfrm>
                  <a:prstGeom prst="roundRect">
                    <a:avLst/>
                  </a:prstGeom>
                  <a:ln/>
                </p:spPr>
                <p:style>
                  <a:lnRef idx="2">
                    <a:schemeClr val="accent1"/>
                  </a:lnRef>
                  <a:fillRef idx="1">
                    <a:schemeClr val="lt1"/>
                  </a:fillRef>
                  <a:effectRef idx="0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nb-NO" sz="1000"/>
                      <a:t>Sentral forskrivningsmodul</a:t>
                    </a:r>
                  </a:p>
                </p:txBody>
              </p:sp>
              <p:sp>
                <p:nvSpPr>
                  <p:cNvPr id="18" name="Rektangel: avrundede hjørner 17">
                    <a:extLst>
                      <a:ext uri="{FF2B5EF4-FFF2-40B4-BE49-F238E27FC236}">
                        <a16:creationId xmlns:a16="http://schemas.microsoft.com/office/drawing/2014/main" id="{9F5AB85C-C0C4-B8F8-22FC-76C5AEE768D8}"/>
                      </a:ext>
                    </a:extLst>
                  </p:cNvPr>
                  <p:cNvSpPr/>
                  <p:nvPr/>
                </p:nvSpPr>
                <p:spPr>
                  <a:xfrm>
                    <a:off x="3274044" y="5548843"/>
                    <a:ext cx="874351" cy="654660"/>
                  </a:xfrm>
                  <a:prstGeom prst="roundRect">
                    <a:avLst/>
                  </a:prstGeom>
                  <a:ln/>
                </p:spPr>
                <p:style>
                  <a:lnRef idx="2">
                    <a:schemeClr val="accent1"/>
                  </a:lnRef>
                  <a:fillRef idx="1">
                    <a:schemeClr val="lt1"/>
                  </a:fillRef>
                  <a:effectRef idx="0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nb-NO" sz="1000"/>
                      <a:t>Pasientens journal-notater</a:t>
                    </a:r>
                  </a:p>
                </p:txBody>
              </p:sp>
              <p:sp>
                <p:nvSpPr>
                  <p:cNvPr id="19" name="Rektangel: avrundede hjørner 18">
                    <a:extLst>
                      <a:ext uri="{FF2B5EF4-FFF2-40B4-BE49-F238E27FC236}">
                        <a16:creationId xmlns:a16="http://schemas.microsoft.com/office/drawing/2014/main" id="{535EA839-C2E8-559F-C8A1-1A5B99795FC9}"/>
                      </a:ext>
                    </a:extLst>
                  </p:cNvPr>
                  <p:cNvSpPr/>
                  <p:nvPr/>
                </p:nvSpPr>
                <p:spPr>
                  <a:xfrm>
                    <a:off x="6099829" y="5548843"/>
                    <a:ext cx="874351" cy="654660"/>
                  </a:xfrm>
                  <a:prstGeom prst="roundRect">
                    <a:avLst/>
                  </a:prstGeom>
                  <a:ln/>
                </p:spPr>
                <p:style>
                  <a:lnRef idx="2">
                    <a:schemeClr val="accent1"/>
                  </a:lnRef>
                  <a:fillRef idx="1">
                    <a:schemeClr val="lt1"/>
                  </a:fillRef>
                  <a:effectRef idx="0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nb-NO" sz="1000"/>
                      <a:t>Kjerne-journal</a:t>
                    </a:r>
                  </a:p>
                </p:txBody>
              </p:sp>
              <p:sp>
                <p:nvSpPr>
                  <p:cNvPr id="20" name="Rektangel: avrundede hjørner 19">
                    <a:extLst>
                      <a:ext uri="{FF2B5EF4-FFF2-40B4-BE49-F238E27FC236}">
                        <a16:creationId xmlns:a16="http://schemas.microsoft.com/office/drawing/2014/main" id="{14365252-D5F2-3DA0-C876-A25590D52B2A}"/>
                      </a:ext>
                    </a:extLst>
                  </p:cNvPr>
                  <p:cNvSpPr/>
                  <p:nvPr/>
                </p:nvSpPr>
                <p:spPr>
                  <a:xfrm>
                    <a:off x="427816" y="5548843"/>
                    <a:ext cx="874351" cy="654660"/>
                  </a:xfrm>
                  <a:prstGeom prst="roundRect">
                    <a:avLst/>
                  </a:prstGeom>
                  <a:ln/>
                </p:spPr>
                <p:style>
                  <a:lnRef idx="2">
                    <a:schemeClr val="accent1"/>
                  </a:lnRef>
                  <a:fillRef idx="1">
                    <a:schemeClr val="lt1"/>
                  </a:fillRef>
                  <a:effectRef idx="0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nb-NO" sz="1000" err="1"/>
                      <a:t>eResepter</a:t>
                    </a:r>
                    <a:r>
                      <a:rPr lang="nb-NO" sz="1000"/>
                      <a:t> og eMultidose</a:t>
                    </a:r>
                  </a:p>
                </p:txBody>
              </p:sp>
              <p:sp>
                <p:nvSpPr>
                  <p:cNvPr id="27" name="Rektangel: avrundede hjørner 26">
                    <a:extLst>
                      <a:ext uri="{FF2B5EF4-FFF2-40B4-BE49-F238E27FC236}">
                        <a16:creationId xmlns:a16="http://schemas.microsoft.com/office/drawing/2014/main" id="{7960953F-B315-0265-4E3F-C8DC7BFF97CE}"/>
                      </a:ext>
                    </a:extLst>
                  </p:cNvPr>
                  <p:cNvSpPr/>
                  <p:nvPr/>
                </p:nvSpPr>
                <p:spPr>
                  <a:xfrm>
                    <a:off x="10800599" y="5548843"/>
                    <a:ext cx="794137" cy="654660"/>
                  </a:xfrm>
                  <a:prstGeom prst="roundRect">
                    <a:avLst/>
                  </a:prstGeom>
                  <a:ln/>
                </p:spPr>
                <p:style>
                  <a:lnRef idx="2">
                    <a:schemeClr val="accent3">
                      <a:shade val="15000"/>
                    </a:schemeClr>
                  </a:lnRef>
                  <a:fillRef idx="1">
                    <a:schemeClr val="accent3"/>
                  </a:fillRef>
                  <a:effectRef idx="0">
                    <a:schemeClr val="accent3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nb-NO" sz="1000"/>
                      <a:t>Oppgjør, registre mm</a:t>
                    </a:r>
                  </a:p>
                </p:txBody>
              </p:sp>
            </p:grpSp>
            <p:sp>
              <p:nvSpPr>
                <p:cNvPr id="30" name="Rektangel: avrundede hjørner 29">
                  <a:extLst>
                    <a:ext uri="{FF2B5EF4-FFF2-40B4-BE49-F238E27FC236}">
                      <a16:creationId xmlns:a16="http://schemas.microsoft.com/office/drawing/2014/main" id="{74CA15F9-0E6A-50E0-067A-46A46BDDD5AB}"/>
                    </a:ext>
                  </a:extLst>
                </p:cNvPr>
                <p:cNvSpPr/>
                <p:nvPr/>
              </p:nvSpPr>
              <p:spPr>
                <a:xfrm>
                  <a:off x="10106282" y="5561197"/>
                  <a:ext cx="980445" cy="654660"/>
                </a:xfrm>
                <a:prstGeom prst="roundRect">
                  <a:avLst/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nb-NO" sz="1000"/>
                    <a:t>Samhandlingstjenester i kommunal sektor + VKP</a:t>
                  </a:r>
                </a:p>
              </p:txBody>
            </p:sp>
          </p:grpSp>
          <p:sp>
            <p:nvSpPr>
              <p:cNvPr id="10" name="Rektangel: avrundede hjørner 9">
                <a:extLst>
                  <a:ext uri="{FF2B5EF4-FFF2-40B4-BE49-F238E27FC236}">
                    <a16:creationId xmlns:a16="http://schemas.microsoft.com/office/drawing/2014/main" id="{C9A530E1-BA6A-8581-A0CB-DF16E05CD5D4}"/>
                  </a:ext>
                </a:extLst>
              </p:cNvPr>
              <p:cNvSpPr/>
              <p:nvPr/>
            </p:nvSpPr>
            <p:spPr>
              <a:xfrm>
                <a:off x="4204126" y="2850943"/>
                <a:ext cx="921135" cy="654660"/>
              </a:xfrm>
              <a:prstGeom prst="roundRect">
                <a:avLst/>
              </a:prstGeom>
              <a:ln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nb-NO" sz="1000"/>
                  <a:t>Kritisk informasjon</a:t>
                </a:r>
              </a:p>
            </p:txBody>
          </p:sp>
          <p:sp>
            <p:nvSpPr>
              <p:cNvPr id="11" name="Rektangel: avrundede hjørner 10">
                <a:extLst>
                  <a:ext uri="{FF2B5EF4-FFF2-40B4-BE49-F238E27FC236}">
                    <a16:creationId xmlns:a16="http://schemas.microsoft.com/office/drawing/2014/main" id="{259467A7-157B-2A3A-2BA3-8728A31AF511}"/>
                  </a:ext>
                </a:extLst>
              </p:cNvPr>
              <p:cNvSpPr/>
              <p:nvPr/>
            </p:nvSpPr>
            <p:spPr>
              <a:xfrm>
                <a:off x="5193311" y="2846827"/>
                <a:ext cx="921135" cy="654660"/>
              </a:xfrm>
              <a:prstGeom prst="roundRect">
                <a:avLst/>
              </a:prstGeom>
              <a:ln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nb-NO" sz="1000"/>
                  <a:t>Pasientens prøvesvar</a:t>
                </a:r>
              </a:p>
            </p:txBody>
          </p:sp>
          <p:sp>
            <p:nvSpPr>
              <p:cNvPr id="51" name="Rektangel: avrundede hjørner 50">
                <a:extLst>
                  <a:ext uri="{FF2B5EF4-FFF2-40B4-BE49-F238E27FC236}">
                    <a16:creationId xmlns:a16="http://schemas.microsoft.com/office/drawing/2014/main" id="{67ED2481-DE9D-977F-1BB9-04CCBE45261A}"/>
                  </a:ext>
                </a:extLst>
              </p:cNvPr>
              <p:cNvSpPr/>
              <p:nvPr/>
            </p:nvSpPr>
            <p:spPr>
              <a:xfrm>
                <a:off x="8150040" y="2851587"/>
                <a:ext cx="921135" cy="654660"/>
              </a:xfrm>
              <a:prstGeom prst="roundRect">
                <a:avLst/>
              </a:prstGeom>
              <a:ln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nb-NO" sz="1000"/>
                  <a:t>Pasientens måledata</a:t>
                </a:r>
              </a:p>
            </p:txBody>
          </p:sp>
        </p:grpSp>
        <p:sp>
          <p:nvSpPr>
            <p:cNvPr id="23" name="Rektangel: avrundede hjørner 22">
              <a:extLst>
                <a:ext uri="{FF2B5EF4-FFF2-40B4-BE49-F238E27FC236}">
                  <a16:creationId xmlns:a16="http://schemas.microsoft.com/office/drawing/2014/main" id="{983B6BDF-AEAF-D96F-A71D-206DC0806C57}"/>
                </a:ext>
              </a:extLst>
            </p:cNvPr>
            <p:cNvSpPr/>
            <p:nvPr/>
          </p:nvSpPr>
          <p:spPr>
            <a:xfrm>
              <a:off x="9130843" y="5853645"/>
              <a:ext cx="921135" cy="654660"/>
            </a:xfrm>
            <a:prstGeom prst="round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000"/>
                <a:t>Beredska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544554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Fargerike frihåndr">
            <a:extLst>
              <a:ext uri="{FF2B5EF4-FFF2-40B4-BE49-F238E27FC236}">
                <a16:creationId xmlns:a16="http://schemas.microsoft.com/office/drawing/2014/main" id="{D78ED40E-9478-0B7E-5F34-2BD01447E1E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730"/>
          <a:stretch>
            <a:fillRect/>
          </a:stretch>
        </p:blipFill>
        <p:spPr>
          <a:xfrm>
            <a:off x="20" y="10"/>
            <a:ext cx="12191980" cy="6857990"/>
          </a:xfrm>
          <a:prstGeom prst="rect">
            <a:avLst/>
          </a:prstGeom>
          <a:noFill/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9BF4B8E2-FF31-B8A1-AE38-6FE8803DCDA9}"/>
              </a:ext>
            </a:extLst>
          </p:cNvPr>
          <p:cNvSpPr txBox="1"/>
          <p:nvPr/>
        </p:nvSpPr>
        <p:spPr>
          <a:xfrm>
            <a:off x="5928855" y="5799908"/>
            <a:ext cx="626312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4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Elektronisk samhandling</a:t>
            </a:r>
          </a:p>
        </p:txBody>
      </p:sp>
    </p:spTree>
    <p:extLst>
      <p:ext uri="{BB962C8B-B14F-4D97-AF65-F5344CB8AC3E}">
        <p14:creationId xmlns:p14="http://schemas.microsoft.com/office/powerpoint/2010/main" val="29236177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FF928F90-BE33-7735-DA98-F1A00D0B2292}"/>
              </a:ext>
            </a:extLst>
          </p:cNvPr>
          <p:cNvCxnSpPr>
            <a:cxnSpLocks/>
          </p:cNvCxnSpPr>
          <p:nvPr/>
        </p:nvCxnSpPr>
        <p:spPr>
          <a:xfrm>
            <a:off x="6287198" y="4296707"/>
            <a:ext cx="9673" cy="39500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3CFCF5F7-6673-0077-C61E-ACF188FAA960}"/>
              </a:ext>
            </a:extLst>
          </p:cNvPr>
          <p:cNvCxnSpPr>
            <a:cxnSpLocks/>
          </p:cNvCxnSpPr>
          <p:nvPr/>
        </p:nvCxnSpPr>
        <p:spPr>
          <a:xfrm>
            <a:off x="9692114" y="4308982"/>
            <a:ext cx="9673" cy="39500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C6735839-A8A8-E06F-6208-D78D7F00B85A}"/>
              </a:ext>
            </a:extLst>
          </p:cNvPr>
          <p:cNvCxnSpPr>
            <a:cxnSpLocks/>
          </p:cNvCxnSpPr>
          <p:nvPr/>
        </p:nvCxnSpPr>
        <p:spPr>
          <a:xfrm>
            <a:off x="8080578" y="3927556"/>
            <a:ext cx="9673" cy="39500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3D6736E3-2304-DD72-1915-9C66220F87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b="1" dirty="0">
                <a:latin typeface="Aptos" panose="020B0004020202020204" pitchFamily="34" charset="0"/>
              </a:rPr>
              <a:t>Prioriterte områder for digital samhandling 2026</a:t>
            </a:r>
            <a:endParaRPr lang="nb-NO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7A9BC25D-AC31-CF54-AB31-CAE2EE34B455}"/>
              </a:ext>
            </a:extLst>
          </p:cNvPr>
          <p:cNvCxnSpPr/>
          <p:nvPr/>
        </p:nvCxnSpPr>
        <p:spPr>
          <a:xfrm>
            <a:off x="698500" y="4321256"/>
            <a:ext cx="100457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5" name="Group 4">
            <a:extLst>
              <a:ext uri="{FF2B5EF4-FFF2-40B4-BE49-F238E27FC236}">
                <a16:creationId xmlns:a16="http://schemas.microsoft.com/office/drawing/2014/main" id="{6F140045-C11C-2ABC-15A8-BF83D06D6F81}"/>
              </a:ext>
            </a:extLst>
          </p:cNvPr>
          <p:cNvGrpSpPr/>
          <p:nvPr/>
        </p:nvGrpSpPr>
        <p:grpSpPr>
          <a:xfrm>
            <a:off x="1304673" y="2822655"/>
            <a:ext cx="1152241" cy="1143001"/>
            <a:chOff x="708916" y="2021923"/>
            <a:chExt cx="1152241" cy="1143001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AD30F9E4-9A83-A244-77A5-E95124D7CCAD}"/>
                </a:ext>
              </a:extLst>
            </p:cNvPr>
            <p:cNvSpPr/>
            <p:nvPr/>
          </p:nvSpPr>
          <p:spPr>
            <a:xfrm>
              <a:off x="708916" y="2021923"/>
              <a:ext cx="1152241" cy="1143001"/>
            </a:xfrm>
            <a:prstGeom prst="ellipse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64BF25F6-AA91-F84B-2CC2-3B90FDE79F00}"/>
                </a:ext>
              </a:extLst>
            </p:cNvPr>
            <p:cNvSpPr/>
            <p:nvPr/>
          </p:nvSpPr>
          <p:spPr>
            <a:xfrm>
              <a:off x="805922" y="2127798"/>
              <a:ext cx="977577" cy="930013"/>
            </a:xfrm>
            <a:prstGeom prst="ellipse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8" name="Graphic 7" descr="Medicine outline">
              <a:extLst>
                <a:ext uri="{FF2B5EF4-FFF2-40B4-BE49-F238E27FC236}">
                  <a16:creationId xmlns:a16="http://schemas.microsoft.com/office/drawing/2014/main" id="{36B917B8-1772-9D20-DC6B-9011ABE49E61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006801" y="2296497"/>
              <a:ext cx="587973" cy="587973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088E00B3-F6DF-9D58-73BF-4868D1166097}"/>
              </a:ext>
            </a:extLst>
          </p:cNvPr>
          <p:cNvGrpSpPr/>
          <p:nvPr/>
        </p:nvGrpSpPr>
        <p:grpSpPr>
          <a:xfrm>
            <a:off x="2610226" y="4702255"/>
            <a:ext cx="1152241" cy="1143002"/>
            <a:chOff x="3059466" y="885344"/>
            <a:chExt cx="1152241" cy="1143002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CC70B7D7-63B9-E300-48AA-650C9D2ABDD3}"/>
                </a:ext>
              </a:extLst>
            </p:cNvPr>
            <p:cNvSpPr/>
            <p:nvPr/>
          </p:nvSpPr>
          <p:spPr>
            <a:xfrm>
              <a:off x="3059466" y="885344"/>
              <a:ext cx="1152241" cy="1143002"/>
            </a:xfrm>
            <a:prstGeom prst="ellipse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3CC258D5-74F4-FA40-0E92-F22AEC758B1F}"/>
                </a:ext>
              </a:extLst>
            </p:cNvPr>
            <p:cNvSpPr/>
            <p:nvPr/>
          </p:nvSpPr>
          <p:spPr>
            <a:xfrm>
              <a:off x="3156472" y="977742"/>
              <a:ext cx="977577" cy="930014"/>
            </a:xfrm>
            <a:prstGeom prst="ellipse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2" name="Graphic 11" descr="Test tubes outline">
              <a:extLst>
                <a:ext uri="{FF2B5EF4-FFF2-40B4-BE49-F238E27FC236}">
                  <a16:creationId xmlns:a16="http://schemas.microsoft.com/office/drawing/2014/main" id="{A17D7CAF-21B7-2597-76D9-443A9619EC44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297988" y="1095686"/>
              <a:ext cx="625272" cy="625272"/>
            </a:xfrm>
            <a:prstGeom prst="rect">
              <a:avLst/>
            </a:prstGeom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8EDDD57-CE68-6497-C19B-71778EE8AB97}"/>
              </a:ext>
            </a:extLst>
          </p:cNvPr>
          <p:cNvGrpSpPr/>
          <p:nvPr/>
        </p:nvGrpSpPr>
        <p:grpSpPr>
          <a:xfrm>
            <a:off x="5721350" y="4656875"/>
            <a:ext cx="1152243" cy="1162982"/>
            <a:chOff x="10024534" y="993026"/>
            <a:chExt cx="1152243" cy="1162982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C1F53AB4-1C4C-45B8-CE79-3FA02C5A2C3F}"/>
                </a:ext>
              </a:extLst>
            </p:cNvPr>
            <p:cNvSpPr/>
            <p:nvPr/>
          </p:nvSpPr>
          <p:spPr>
            <a:xfrm>
              <a:off x="10024534" y="993026"/>
              <a:ext cx="1152243" cy="1162982"/>
            </a:xfrm>
            <a:prstGeom prst="ellipse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ECF8C4A7-20A9-DB03-9293-0DE220FF9909}"/>
                </a:ext>
              </a:extLst>
            </p:cNvPr>
            <p:cNvSpPr/>
            <p:nvPr/>
          </p:nvSpPr>
          <p:spPr>
            <a:xfrm>
              <a:off x="10111266" y="1082076"/>
              <a:ext cx="977579" cy="946270"/>
            </a:xfrm>
            <a:prstGeom prst="ellipse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145C759-EB4B-F202-9847-84BA109E4491}"/>
                </a:ext>
              </a:extLst>
            </p:cNvPr>
            <p:cNvGrpSpPr/>
            <p:nvPr/>
          </p:nvGrpSpPr>
          <p:grpSpPr>
            <a:xfrm>
              <a:off x="10261039" y="1162391"/>
              <a:ext cx="684739" cy="681663"/>
              <a:chOff x="9371788" y="2447609"/>
              <a:chExt cx="775032" cy="775032"/>
            </a:xfrm>
            <a:solidFill>
              <a:schemeClr val="tx2">
                <a:lumMod val="75000"/>
              </a:schemeClr>
            </a:solidFill>
          </p:grpSpPr>
          <p:pic>
            <p:nvPicPr>
              <p:cNvPr id="18" name="Graphic 17" descr="Folder Search outline">
                <a:extLst>
                  <a:ext uri="{FF2B5EF4-FFF2-40B4-BE49-F238E27FC236}">
                    <a16:creationId xmlns:a16="http://schemas.microsoft.com/office/drawing/2014/main" id="{79EB13A2-4033-DA51-4D89-7D8BC3014DE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454241" y="2566432"/>
                <a:ext cx="485585" cy="485585"/>
              </a:xfrm>
              <a:prstGeom prst="rect">
                <a:avLst/>
              </a:prstGeom>
            </p:spPr>
          </p:pic>
          <p:pic>
            <p:nvPicPr>
              <p:cNvPr id="19" name="Graphic 18" descr="Monitor outline">
                <a:extLst>
                  <a:ext uri="{FF2B5EF4-FFF2-40B4-BE49-F238E27FC236}">
                    <a16:creationId xmlns:a16="http://schemas.microsoft.com/office/drawing/2014/main" id="{EE760DA8-C409-FB0B-016E-0923A0B2456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9371788" y="2447609"/>
                <a:ext cx="775032" cy="775032"/>
              </a:xfrm>
              <a:prstGeom prst="rect">
                <a:avLst/>
              </a:prstGeom>
            </p:spPr>
          </p:pic>
        </p:grp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CBF485B-195C-14B5-0602-CB4BEAD51697}"/>
              </a:ext>
            </a:extLst>
          </p:cNvPr>
          <p:cNvGrpSpPr/>
          <p:nvPr/>
        </p:nvGrpSpPr>
        <p:grpSpPr>
          <a:xfrm>
            <a:off x="7509294" y="2822655"/>
            <a:ext cx="1152242" cy="1143003"/>
            <a:chOff x="5386093" y="932861"/>
            <a:chExt cx="1152242" cy="1143003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4940DB8D-56A7-33DC-693F-AE04432CB750}"/>
                </a:ext>
              </a:extLst>
            </p:cNvPr>
            <p:cNvSpPr/>
            <p:nvPr/>
          </p:nvSpPr>
          <p:spPr>
            <a:xfrm>
              <a:off x="5386093" y="932861"/>
              <a:ext cx="1152242" cy="1143003"/>
            </a:xfrm>
            <a:prstGeom prst="ellipse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C6438996-95C0-47D4-84D5-C42B54A49A84}"/>
                </a:ext>
              </a:extLst>
            </p:cNvPr>
            <p:cNvSpPr/>
            <p:nvPr/>
          </p:nvSpPr>
          <p:spPr>
            <a:xfrm>
              <a:off x="5483099" y="1028463"/>
              <a:ext cx="977578" cy="930014"/>
            </a:xfrm>
            <a:prstGeom prst="ellipse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8D74821E-8117-9437-44B4-22F4DB6D0CAE}"/>
                </a:ext>
              </a:extLst>
            </p:cNvPr>
            <p:cNvGrpSpPr/>
            <p:nvPr/>
          </p:nvGrpSpPr>
          <p:grpSpPr>
            <a:xfrm>
              <a:off x="5633874" y="1022587"/>
              <a:ext cx="667088" cy="790424"/>
              <a:chOff x="5306291" y="2425535"/>
              <a:chExt cx="914400" cy="1018310"/>
            </a:xfrm>
            <a:solidFill>
              <a:schemeClr val="tx2">
                <a:lumMod val="75000"/>
              </a:schemeClr>
            </a:solidFill>
          </p:grpSpPr>
          <p:pic>
            <p:nvPicPr>
              <p:cNvPr id="24" name="Graphic 23" descr="Information outline">
                <a:extLst>
                  <a:ext uri="{FF2B5EF4-FFF2-40B4-BE49-F238E27FC236}">
                    <a16:creationId xmlns:a16="http://schemas.microsoft.com/office/drawing/2014/main" id="{91E250A9-181C-7BA8-8ACE-2F518F0653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306291" y="2425535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25" name="Graphic 24" descr="Touchscreen outline">
                <a:extLst>
                  <a:ext uri="{FF2B5EF4-FFF2-40B4-BE49-F238E27FC236}">
                    <a16:creationId xmlns:a16="http://schemas.microsoft.com/office/drawing/2014/main" id="{0DAFEEEF-FFB1-173F-E6AA-957B16C0A5B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5392383" y="2814449"/>
                <a:ext cx="629396" cy="629396"/>
              </a:xfrm>
              <a:prstGeom prst="rect">
                <a:avLst/>
              </a:prstGeom>
            </p:spPr>
          </p:pic>
        </p:grp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1CA896C-93C6-D005-B78B-73EE02C961B6}"/>
              </a:ext>
            </a:extLst>
          </p:cNvPr>
          <p:cNvGrpSpPr/>
          <p:nvPr/>
        </p:nvGrpSpPr>
        <p:grpSpPr>
          <a:xfrm>
            <a:off x="9156763" y="4660258"/>
            <a:ext cx="1152243" cy="1143003"/>
            <a:chOff x="7712721" y="959794"/>
            <a:chExt cx="1152243" cy="1143003"/>
          </a:xfrm>
        </p:grpSpPr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68FF3889-F6E9-C278-68F3-B19F4C5DE9E4}"/>
                </a:ext>
              </a:extLst>
            </p:cNvPr>
            <p:cNvSpPr/>
            <p:nvPr/>
          </p:nvSpPr>
          <p:spPr>
            <a:xfrm>
              <a:off x="7712721" y="959794"/>
              <a:ext cx="1152243" cy="1143003"/>
            </a:xfrm>
            <a:prstGeom prst="ellipse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6A42650D-21C3-0F29-B07D-4D7AB40E1BBC}"/>
                </a:ext>
              </a:extLst>
            </p:cNvPr>
            <p:cNvSpPr/>
            <p:nvPr/>
          </p:nvSpPr>
          <p:spPr>
            <a:xfrm>
              <a:off x="7799453" y="1045122"/>
              <a:ext cx="977579" cy="930014"/>
            </a:xfrm>
            <a:prstGeom prst="ellipse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29" name="Graphic 28" descr="Statistics outline">
              <a:extLst>
                <a:ext uri="{FF2B5EF4-FFF2-40B4-BE49-F238E27FC236}">
                  <a16:creationId xmlns:a16="http://schemas.microsoft.com/office/drawing/2014/main" id="{9DAB21F3-5F32-1378-4CA5-D6397E5C0F35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918667" y="1154777"/>
              <a:ext cx="640632" cy="640632"/>
            </a:xfrm>
            <a:prstGeom prst="rect">
              <a:avLst/>
            </a:prstGeom>
          </p:spPr>
        </p:pic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4FAFCFA8-5C58-A649-B554-976074FF51ED}"/>
              </a:ext>
            </a:extLst>
          </p:cNvPr>
          <p:cNvSpPr txBox="1"/>
          <p:nvPr/>
        </p:nvSpPr>
        <p:spPr>
          <a:xfrm>
            <a:off x="842717" y="2145996"/>
            <a:ext cx="20955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400" b="1">
                <a:latin typeface="Aptos" panose="020B0004020202020204" pitchFamily="34" charset="0"/>
              </a:rPr>
              <a:t>Pasientens legemiddelliste og SFM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0B3E899-2073-C05D-50BD-D5CBBFB82B7E}"/>
              </a:ext>
            </a:extLst>
          </p:cNvPr>
          <p:cNvSpPr txBox="1"/>
          <p:nvPr/>
        </p:nvSpPr>
        <p:spPr>
          <a:xfrm>
            <a:off x="2113634" y="5831745"/>
            <a:ext cx="20955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400" b="1">
                <a:latin typeface="Aptos" panose="020B0004020202020204" pitchFamily="34" charset="0"/>
              </a:rPr>
              <a:t>Pasientens </a:t>
            </a:r>
          </a:p>
          <a:p>
            <a:pPr algn="ctr"/>
            <a:r>
              <a:rPr lang="nb-NO" sz="1400" b="1">
                <a:latin typeface="Aptos" panose="020B0004020202020204" pitchFamily="34" charset="0"/>
              </a:rPr>
              <a:t>prøvesvar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DFD011E-2476-DD26-C881-D6009E4C2C36}"/>
              </a:ext>
            </a:extLst>
          </p:cNvPr>
          <p:cNvSpPr txBox="1"/>
          <p:nvPr/>
        </p:nvSpPr>
        <p:spPr>
          <a:xfrm>
            <a:off x="3975434" y="2145996"/>
            <a:ext cx="20955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400" b="1">
                <a:latin typeface="Aptos" panose="020B0004020202020204" pitchFamily="34" charset="0"/>
              </a:rPr>
              <a:t>Digitalt helsekort for gravid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ADD3734-C60A-3F6B-1629-AAD2E540DEB4}"/>
              </a:ext>
            </a:extLst>
          </p:cNvPr>
          <p:cNvSpPr txBox="1"/>
          <p:nvPr/>
        </p:nvSpPr>
        <p:spPr>
          <a:xfrm>
            <a:off x="5274521" y="5831745"/>
            <a:ext cx="20955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400" b="1">
                <a:latin typeface="Aptos" panose="020B0004020202020204" pitchFamily="34" charset="0"/>
              </a:rPr>
              <a:t>Pasientens journaldokumenter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43DC5A6-9147-78FB-B51F-44A4B00A6C82}"/>
              </a:ext>
            </a:extLst>
          </p:cNvPr>
          <p:cNvSpPr txBox="1"/>
          <p:nvPr/>
        </p:nvSpPr>
        <p:spPr>
          <a:xfrm>
            <a:off x="7031069" y="2145996"/>
            <a:ext cx="20955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400" b="1">
                <a:latin typeface="Aptos" panose="020B0004020202020204" pitchFamily="34" charset="0"/>
              </a:rPr>
              <a:t>Pasientens kritiske informasjon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D9BE8A4-4DC3-C1A0-D723-11C8C968E5C7}"/>
              </a:ext>
            </a:extLst>
          </p:cNvPr>
          <p:cNvSpPr txBox="1"/>
          <p:nvPr/>
        </p:nvSpPr>
        <p:spPr>
          <a:xfrm>
            <a:off x="8705695" y="5831745"/>
            <a:ext cx="20955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400" b="1">
                <a:latin typeface="Aptos" panose="020B0004020202020204" pitchFamily="34" charset="0"/>
              </a:rPr>
              <a:t>Pasientens </a:t>
            </a:r>
          </a:p>
          <a:p>
            <a:pPr algn="ctr"/>
            <a:r>
              <a:rPr lang="nb-NO" sz="1400" b="1">
                <a:latin typeface="Aptos" panose="020B0004020202020204" pitchFamily="34" charset="0"/>
              </a:rPr>
              <a:t>måledata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008E7207-BE3D-49AD-FD7C-8C0BFA386B05}"/>
              </a:ext>
            </a:extLst>
          </p:cNvPr>
          <p:cNvCxnSpPr>
            <a:cxnSpLocks/>
          </p:cNvCxnSpPr>
          <p:nvPr/>
        </p:nvCxnSpPr>
        <p:spPr>
          <a:xfrm>
            <a:off x="1880794" y="3940256"/>
            <a:ext cx="9673" cy="39500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E4D7679B-C817-2688-9892-AC1852AD943D}"/>
              </a:ext>
            </a:extLst>
          </p:cNvPr>
          <p:cNvCxnSpPr>
            <a:cxnSpLocks/>
          </p:cNvCxnSpPr>
          <p:nvPr/>
        </p:nvCxnSpPr>
        <p:spPr>
          <a:xfrm>
            <a:off x="5031047" y="3899071"/>
            <a:ext cx="9673" cy="39500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16FC69B5-BB63-C6BE-51C5-75C0E1FFC389}"/>
              </a:ext>
            </a:extLst>
          </p:cNvPr>
          <p:cNvCxnSpPr>
            <a:cxnSpLocks/>
          </p:cNvCxnSpPr>
          <p:nvPr/>
        </p:nvCxnSpPr>
        <p:spPr>
          <a:xfrm>
            <a:off x="3191183" y="4296707"/>
            <a:ext cx="9673" cy="39500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47" name="Gruppe 46">
            <a:extLst>
              <a:ext uri="{FF2B5EF4-FFF2-40B4-BE49-F238E27FC236}">
                <a16:creationId xmlns:a16="http://schemas.microsoft.com/office/drawing/2014/main" id="{FE2FA557-BF66-E7BA-6B24-1F83CB262AC0}"/>
              </a:ext>
            </a:extLst>
          </p:cNvPr>
          <p:cNvGrpSpPr/>
          <p:nvPr/>
        </p:nvGrpSpPr>
        <p:grpSpPr>
          <a:xfrm>
            <a:off x="4464599" y="2751652"/>
            <a:ext cx="1152241" cy="1143001"/>
            <a:chOff x="4464599" y="2751652"/>
            <a:chExt cx="1152241" cy="1143001"/>
          </a:xfrm>
        </p:grpSpPr>
        <p:sp>
          <p:nvSpPr>
            <p:cNvPr id="36" name="Oval 5">
              <a:extLst>
                <a:ext uri="{FF2B5EF4-FFF2-40B4-BE49-F238E27FC236}">
                  <a16:creationId xmlns:a16="http://schemas.microsoft.com/office/drawing/2014/main" id="{98016864-49A8-9215-91AC-2DB66765BAE6}"/>
                </a:ext>
              </a:extLst>
            </p:cNvPr>
            <p:cNvSpPr/>
            <p:nvPr/>
          </p:nvSpPr>
          <p:spPr>
            <a:xfrm>
              <a:off x="4464599" y="2751652"/>
              <a:ext cx="1152241" cy="1143001"/>
            </a:xfrm>
            <a:prstGeom prst="ellipse">
              <a:avLst/>
            </a:prstGeom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Oval 6">
              <a:extLst>
                <a:ext uri="{FF2B5EF4-FFF2-40B4-BE49-F238E27FC236}">
                  <a16:creationId xmlns:a16="http://schemas.microsoft.com/office/drawing/2014/main" id="{84DD4DA2-0172-441E-92A1-48F89EDDBAD3}"/>
                </a:ext>
              </a:extLst>
            </p:cNvPr>
            <p:cNvSpPr/>
            <p:nvPr/>
          </p:nvSpPr>
          <p:spPr>
            <a:xfrm>
              <a:off x="4561605" y="2857527"/>
              <a:ext cx="977577" cy="930013"/>
            </a:xfrm>
            <a:prstGeom prst="ellipse">
              <a:avLst/>
            </a:prstGeom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46" name="Grafikk 45" descr="Gravid kvinne kontur">
              <a:extLst>
                <a:ext uri="{FF2B5EF4-FFF2-40B4-BE49-F238E27FC236}">
                  <a16:creationId xmlns:a16="http://schemas.microsoft.com/office/drawing/2014/main" id="{18AD8343-9DE4-E56A-D7CA-8E0183E95388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683427" y="2939163"/>
              <a:ext cx="784916" cy="784916"/>
            </a:xfrm>
            <a:prstGeom prst="rect">
              <a:avLst/>
            </a:prstGeom>
          </p:spPr>
        </p:pic>
      </p:grpSp>
      <p:cxnSp>
        <p:nvCxnSpPr>
          <p:cNvPr id="52" name="Straight Connector 42">
            <a:extLst>
              <a:ext uri="{FF2B5EF4-FFF2-40B4-BE49-F238E27FC236}">
                <a16:creationId xmlns:a16="http://schemas.microsoft.com/office/drawing/2014/main" id="{FBD1CCC8-2577-694F-D526-9F26899CD30E}"/>
              </a:ext>
            </a:extLst>
          </p:cNvPr>
          <p:cNvCxnSpPr>
            <a:cxnSpLocks/>
          </p:cNvCxnSpPr>
          <p:nvPr/>
        </p:nvCxnSpPr>
        <p:spPr>
          <a:xfrm>
            <a:off x="10578862" y="3913916"/>
            <a:ext cx="9673" cy="39500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3" name="TextBox 33">
            <a:extLst>
              <a:ext uri="{FF2B5EF4-FFF2-40B4-BE49-F238E27FC236}">
                <a16:creationId xmlns:a16="http://schemas.microsoft.com/office/drawing/2014/main" id="{7D79BE30-9357-740B-E21E-4A3D5CB5C69B}"/>
              </a:ext>
            </a:extLst>
          </p:cNvPr>
          <p:cNvSpPr txBox="1"/>
          <p:nvPr/>
        </p:nvSpPr>
        <p:spPr>
          <a:xfrm>
            <a:off x="9540785" y="2145996"/>
            <a:ext cx="20955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400" b="1" dirty="0">
                <a:latin typeface="Aptos" panose="020B0004020202020204" pitchFamily="34" charset="0"/>
              </a:rPr>
              <a:t>Kommunal samhandlingsplattform</a:t>
            </a:r>
          </a:p>
        </p:txBody>
      </p:sp>
      <p:grpSp>
        <p:nvGrpSpPr>
          <p:cNvPr id="56" name="Gruppe 55">
            <a:extLst>
              <a:ext uri="{FF2B5EF4-FFF2-40B4-BE49-F238E27FC236}">
                <a16:creationId xmlns:a16="http://schemas.microsoft.com/office/drawing/2014/main" id="{345F12B4-440B-F359-6606-98BEF8998778}"/>
              </a:ext>
            </a:extLst>
          </p:cNvPr>
          <p:cNvGrpSpPr/>
          <p:nvPr/>
        </p:nvGrpSpPr>
        <p:grpSpPr>
          <a:xfrm>
            <a:off x="10003341" y="2791980"/>
            <a:ext cx="1152243" cy="1143003"/>
            <a:chOff x="10003341" y="2791980"/>
            <a:chExt cx="1152243" cy="1143003"/>
          </a:xfrm>
        </p:grpSpPr>
        <p:sp>
          <p:nvSpPr>
            <p:cNvPr id="49" name="Oval 26">
              <a:extLst>
                <a:ext uri="{FF2B5EF4-FFF2-40B4-BE49-F238E27FC236}">
                  <a16:creationId xmlns:a16="http://schemas.microsoft.com/office/drawing/2014/main" id="{E1FD6479-55B9-B753-1518-9A0D70F5042E}"/>
                </a:ext>
              </a:extLst>
            </p:cNvPr>
            <p:cNvSpPr/>
            <p:nvPr/>
          </p:nvSpPr>
          <p:spPr>
            <a:xfrm>
              <a:off x="10003341" y="2791980"/>
              <a:ext cx="1152243" cy="1143003"/>
            </a:xfrm>
            <a:prstGeom prst="ellipse">
              <a:avLst/>
            </a:pr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Oval 27">
              <a:extLst>
                <a:ext uri="{FF2B5EF4-FFF2-40B4-BE49-F238E27FC236}">
                  <a16:creationId xmlns:a16="http://schemas.microsoft.com/office/drawing/2014/main" id="{A4CD7C0F-0E7D-7DB2-B175-80D3B3101D71}"/>
                </a:ext>
              </a:extLst>
            </p:cNvPr>
            <p:cNvSpPr/>
            <p:nvPr/>
          </p:nvSpPr>
          <p:spPr>
            <a:xfrm>
              <a:off x="10090073" y="2877308"/>
              <a:ext cx="977579" cy="930014"/>
            </a:xfrm>
            <a:prstGeom prst="ellipse">
              <a:avLst/>
            </a:pr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55" name="Grafikk 54" descr="Skål kontur">
              <a:extLst>
                <a:ext uri="{FF2B5EF4-FFF2-40B4-BE49-F238E27FC236}">
                  <a16:creationId xmlns:a16="http://schemas.microsoft.com/office/drawing/2014/main" id="{BD36C70D-F7B9-1B0B-307F-48FD4316856D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0259499" y="3027131"/>
              <a:ext cx="658071" cy="65807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493161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Bilde 32">
            <a:extLst>
              <a:ext uri="{FF2B5EF4-FFF2-40B4-BE49-F238E27FC236}">
                <a16:creationId xmlns:a16="http://schemas.microsoft.com/office/drawing/2014/main" id="{772A92C4-A86A-2DE9-4908-088F552AF2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918" y="342551"/>
            <a:ext cx="3314286" cy="5219048"/>
          </a:xfrm>
          <a:prstGeom prst="rect">
            <a:avLst/>
          </a:prstGeom>
        </p:spPr>
      </p:pic>
      <p:grpSp>
        <p:nvGrpSpPr>
          <p:cNvPr id="19" name="Gruppe 18">
            <a:extLst>
              <a:ext uri="{FF2B5EF4-FFF2-40B4-BE49-F238E27FC236}">
                <a16:creationId xmlns:a16="http://schemas.microsoft.com/office/drawing/2014/main" id="{22845F1F-E7F8-5722-79A5-E09EB0C55D70}"/>
              </a:ext>
            </a:extLst>
          </p:cNvPr>
          <p:cNvGrpSpPr/>
          <p:nvPr/>
        </p:nvGrpSpPr>
        <p:grpSpPr>
          <a:xfrm>
            <a:off x="2950426" y="342551"/>
            <a:ext cx="3241759" cy="4988122"/>
            <a:chOff x="2950426" y="1359588"/>
            <a:chExt cx="3241759" cy="4988122"/>
          </a:xfrm>
        </p:grpSpPr>
        <p:grpSp>
          <p:nvGrpSpPr>
            <p:cNvPr id="5" name="Gruppe 4">
              <a:extLst>
                <a:ext uri="{FF2B5EF4-FFF2-40B4-BE49-F238E27FC236}">
                  <a16:creationId xmlns:a16="http://schemas.microsoft.com/office/drawing/2014/main" id="{724F91B5-E24D-0104-7B5A-A592E6CE1C36}"/>
                </a:ext>
              </a:extLst>
            </p:cNvPr>
            <p:cNvGrpSpPr/>
            <p:nvPr/>
          </p:nvGrpSpPr>
          <p:grpSpPr>
            <a:xfrm>
              <a:off x="2950426" y="1359588"/>
              <a:ext cx="3241759" cy="1223700"/>
              <a:chOff x="2913823" y="0"/>
              <a:chExt cx="3241759" cy="1223700"/>
            </a:xfrm>
          </p:grpSpPr>
          <p:sp>
            <p:nvSpPr>
              <p:cNvPr id="12" name="Pil: vinkeltegn 11">
                <a:extLst>
                  <a:ext uri="{FF2B5EF4-FFF2-40B4-BE49-F238E27FC236}">
                    <a16:creationId xmlns:a16="http://schemas.microsoft.com/office/drawing/2014/main" id="{731A1AA0-3432-8A3C-C933-080CC0AC9D03}"/>
                  </a:ext>
                </a:extLst>
              </p:cNvPr>
              <p:cNvSpPr/>
              <p:nvPr/>
            </p:nvSpPr>
            <p:spPr>
              <a:xfrm>
                <a:off x="2913823" y="0"/>
                <a:ext cx="3241759" cy="1223700"/>
              </a:xfrm>
              <a:prstGeom prst="chevron">
                <a:avLst/>
              </a:prstGeom>
              <a:solidFill>
                <a:schemeClr val="accent6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nb-NO"/>
              </a:p>
            </p:txBody>
          </p:sp>
          <p:sp>
            <p:nvSpPr>
              <p:cNvPr id="13" name="Pil: vinkeltegn 6">
                <a:extLst>
                  <a:ext uri="{FF2B5EF4-FFF2-40B4-BE49-F238E27FC236}">
                    <a16:creationId xmlns:a16="http://schemas.microsoft.com/office/drawing/2014/main" id="{FC25BBED-9FD7-E18D-5CFD-F70880CB7E1E}"/>
                  </a:ext>
                </a:extLst>
              </p:cNvPr>
              <p:cNvSpPr txBox="1"/>
              <p:nvPr/>
            </p:nvSpPr>
            <p:spPr>
              <a:xfrm>
                <a:off x="3525673" y="0"/>
                <a:ext cx="2018059" cy="122370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76010" tIns="25337" rIns="25337" bIns="25337" numCol="1" spcCol="1270" anchor="ctr" anchorCtr="0">
                <a:noAutofit/>
              </a:bodyPr>
              <a:lstStyle/>
              <a:p>
                <a:pPr marL="0" lvl="0" indent="0" algn="ctr" defTabSz="8445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nb-NO" sz="1900" kern="1200"/>
                  <a:t>Utvikling/utprøving</a:t>
                </a:r>
              </a:p>
            </p:txBody>
          </p:sp>
        </p:grpSp>
        <p:pic>
          <p:nvPicPr>
            <p:cNvPr id="20" name="Bilde 19">
              <a:extLst>
                <a:ext uri="{FF2B5EF4-FFF2-40B4-BE49-F238E27FC236}">
                  <a16:creationId xmlns:a16="http://schemas.microsoft.com/office/drawing/2014/main" id="{194E309D-DDB7-F27E-8679-0A74E1567AF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197947" y="2771119"/>
              <a:ext cx="2263458" cy="1444270"/>
            </a:xfrm>
            <a:prstGeom prst="rect">
              <a:avLst/>
            </a:prstGeom>
          </p:spPr>
        </p:pic>
        <p:pic>
          <p:nvPicPr>
            <p:cNvPr id="21" name="Bilde 20">
              <a:extLst>
                <a:ext uri="{FF2B5EF4-FFF2-40B4-BE49-F238E27FC236}">
                  <a16:creationId xmlns:a16="http://schemas.microsoft.com/office/drawing/2014/main" id="{6B9C78F4-A2A5-8E3A-1B82-DEEEADD2907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192091" y="4274210"/>
              <a:ext cx="1391750" cy="955223"/>
            </a:xfrm>
            <a:prstGeom prst="rect">
              <a:avLst/>
            </a:prstGeom>
          </p:spPr>
        </p:pic>
        <p:pic>
          <p:nvPicPr>
            <p:cNvPr id="22" name="Bilde 21">
              <a:extLst>
                <a:ext uri="{FF2B5EF4-FFF2-40B4-BE49-F238E27FC236}">
                  <a16:creationId xmlns:a16="http://schemas.microsoft.com/office/drawing/2014/main" id="{4B1FEEF9-4689-C764-309A-323197E8768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727106" y="4336062"/>
              <a:ext cx="983180" cy="698936"/>
            </a:xfrm>
            <a:prstGeom prst="rect">
              <a:avLst/>
            </a:prstGeom>
          </p:spPr>
        </p:pic>
        <p:sp>
          <p:nvSpPr>
            <p:cNvPr id="24" name="Plassholder for innhold 2">
              <a:extLst>
                <a:ext uri="{FF2B5EF4-FFF2-40B4-BE49-F238E27FC236}">
                  <a16:creationId xmlns:a16="http://schemas.microsoft.com/office/drawing/2014/main" id="{BDFFC075-B404-85E7-5EA5-E0D76E51FC44}"/>
                </a:ext>
              </a:extLst>
            </p:cNvPr>
            <p:cNvSpPr txBox="1">
              <a:spLocks/>
            </p:cNvSpPr>
            <p:nvPr/>
          </p:nvSpPr>
          <p:spPr>
            <a:xfrm>
              <a:off x="3073775" y="5309085"/>
              <a:ext cx="2872813" cy="1038625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lIns="91440" tIns="45720" rIns="91440" bIns="45720" rtlCol="0">
              <a:noAutofit/>
            </a:bodyPr>
            <a:lstStyle>
              <a:lvl1pPr marL="342900" indent="-3429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rgbClr val="001A58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000" kern="1200">
                  <a:solidFill>
                    <a:srgbClr val="001A58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rgbClr val="001A58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000" kern="1200">
                  <a:solidFill>
                    <a:srgbClr val="001A58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457200" rtl="0" eaLnBrk="1" latinLnBrk="0" hangingPunct="1">
                <a:spcBef>
                  <a:spcPct val="20000"/>
                </a:spcBef>
                <a:buFont typeface="Arial"/>
                <a:buChar char="»"/>
                <a:defRPr sz="2000" kern="1200">
                  <a:solidFill>
                    <a:srgbClr val="001A58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nb-NO" sz="1400" dirty="0"/>
                <a:t>Koordinering, samordning og kunnskapsoverføring</a:t>
              </a:r>
            </a:p>
            <a:p>
              <a:r>
                <a:rPr lang="nb-NO" sz="1400" dirty="0"/>
                <a:t>Behovsbeskrivelser og krav til overføring til innføring</a:t>
              </a:r>
            </a:p>
            <a:p>
              <a:r>
                <a:rPr lang="nb-NO" sz="1400" dirty="0"/>
                <a:t>Behov for leverandørdialog</a:t>
              </a:r>
            </a:p>
            <a:p>
              <a:r>
                <a:rPr lang="nb-NO" sz="1400" dirty="0"/>
                <a:t>Verifiserer funksjonalitet</a:t>
              </a:r>
            </a:p>
          </p:txBody>
        </p:sp>
      </p:grp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5822BE6C-4B81-A361-5EB6-8402E7E2F422}"/>
              </a:ext>
            </a:extLst>
          </p:cNvPr>
          <p:cNvGrpSpPr/>
          <p:nvPr/>
        </p:nvGrpSpPr>
        <p:grpSpPr>
          <a:xfrm>
            <a:off x="5877340" y="342551"/>
            <a:ext cx="3373775" cy="5197254"/>
            <a:chOff x="5877340" y="1359588"/>
            <a:chExt cx="3373775" cy="5197254"/>
          </a:xfrm>
        </p:grpSpPr>
        <p:grpSp>
          <p:nvGrpSpPr>
            <p:cNvPr id="6" name="Gruppe 5">
              <a:extLst>
                <a:ext uri="{FF2B5EF4-FFF2-40B4-BE49-F238E27FC236}">
                  <a16:creationId xmlns:a16="http://schemas.microsoft.com/office/drawing/2014/main" id="{69F0B1FC-014F-2737-C10D-C3A7C8366509}"/>
                </a:ext>
              </a:extLst>
            </p:cNvPr>
            <p:cNvGrpSpPr/>
            <p:nvPr/>
          </p:nvGrpSpPr>
          <p:grpSpPr>
            <a:xfrm>
              <a:off x="5877340" y="1359588"/>
              <a:ext cx="3241759" cy="1223700"/>
              <a:chOff x="5840737" y="0"/>
              <a:chExt cx="3241759" cy="1223700"/>
            </a:xfrm>
          </p:grpSpPr>
          <p:sp>
            <p:nvSpPr>
              <p:cNvPr id="10" name="Pil: vinkeltegn 9">
                <a:extLst>
                  <a:ext uri="{FF2B5EF4-FFF2-40B4-BE49-F238E27FC236}">
                    <a16:creationId xmlns:a16="http://schemas.microsoft.com/office/drawing/2014/main" id="{9A9EB21E-23C2-E099-A084-C30E88A1F20D}"/>
                  </a:ext>
                </a:extLst>
              </p:cNvPr>
              <p:cNvSpPr/>
              <p:nvPr/>
            </p:nvSpPr>
            <p:spPr>
              <a:xfrm>
                <a:off x="5840737" y="0"/>
                <a:ext cx="3241759" cy="1223700"/>
              </a:xfrm>
              <a:prstGeom prst="chevron">
                <a:avLst/>
              </a:prstGeom>
              <a:solidFill>
                <a:schemeClr val="accent3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nb-NO"/>
              </a:p>
            </p:txBody>
          </p:sp>
          <p:sp>
            <p:nvSpPr>
              <p:cNvPr id="11" name="Pil: vinkeltegn 8">
                <a:extLst>
                  <a:ext uri="{FF2B5EF4-FFF2-40B4-BE49-F238E27FC236}">
                    <a16:creationId xmlns:a16="http://schemas.microsoft.com/office/drawing/2014/main" id="{13D623D1-3E8D-0388-F15A-31E0F8E66E15}"/>
                  </a:ext>
                </a:extLst>
              </p:cNvPr>
              <p:cNvSpPr txBox="1"/>
              <p:nvPr/>
            </p:nvSpPr>
            <p:spPr>
              <a:xfrm>
                <a:off x="6452587" y="0"/>
                <a:ext cx="2018059" cy="122370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76010" tIns="25337" rIns="25337" bIns="25337" numCol="1" spcCol="1270" anchor="ctr" anchorCtr="0">
                <a:noAutofit/>
              </a:bodyPr>
              <a:lstStyle/>
              <a:p>
                <a:pPr marL="0" lvl="0" indent="0" algn="ctr" defTabSz="8445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nb-NO" sz="1900" kern="1200"/>
                  <a:t>Innføring</a:t>
                </a:r>
              </a:p>
            </p:txBody>
          </p:sp>
        </p:grpSp>
        <p:pic>
          <p:nvPicPr>
            <p:cNvPr id="25" name="Bilde 24">
              <a:extLst>
                <a:ext uri="{FF2B5EF4-FFF2-40B4-BE49-F238E27FC236}">
                  <a16:creationId xmlns:a16="http://schemas.microsoft.com/office/drawing/2014/main" id="{78143000-824C-58CB-3FA6-FB7B1CDE063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378302" y="2724414"/>
              <a:ext cx="1785557" cy="1609748"/>
            </a:xfrm>
            <a:prstGeom prst="rect">
              <a:avLst/>
            </a:prstGeom>
          </p:spPr>
        </p:pic>
        <p:pic>
          <p:nvPicPr>
            <p:cNvPr id="26" name="Bilde 25">
              <a:extLst>
                <a:ext uri="{FF2B5EF4-FFF2-40B4-BE49-F238E27FC236}">
                  <a16:creationId xmlns:a16="http://schemas.microsoft.com/office/drawing/2014/main" id="{94E874DB-321F-2D39-AB5A-D713A3BF19C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734225" y="4563432"/>
              <a:ext cx="1166669" cy="778759"/>
            </a:xfrm>
            <a:prstGeom prst="rect">
              <a:avLst/>
            </a:prstGeom>
          </p:spPr>
        </p:pic>
        <p:sp>
          <p:nvSpPr>
            <p:cNvPr id="29" name="Plassholder for innhold 2">
              <a:extLst>
                <a:ext uri="{FF2B5EF4-FFF2-40B4-BE49-F238E27FC236}">
                  <a16:creationId xmlns:a16="http://schemas.microsoft.com/office/drawing/2014/main" id="{8033FC4B-31B8-C244-13B1-66952917D753}"/>
                </a:ext>
              </a:extLst>
            </p:cNvPr>
            <p:cNvSpPr txBox="1">
              <a:spLocks/>
            </p:cNvSpPr>
            <p:nvPr/>
          </p:nvSpPr>
          <p:spPr>
            <a:xfrm>
              <a:off x="6378302" y="5518217"/>
              <a:ext cx="2872813" cy="1038625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lIns="91440" tIns="45720" rIns="91440" bIns="45720" rtlCol="0">
              <a:normAutofit fontScale="92500"/>
            </a:bodyPr>
            <a:lstStyle>
              <a:lvl1pPr marL="342900" indent="-3429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rgbClr val="001A58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000" kern="1200">
                  <a:solidFill>
                    <a:srgbClr val="001A58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rgbClr val="001A58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000" kern="1200">
                  <a:solidFill>
                    <a:srgbClr val="001A58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457200" rtl="0" eaLnBrk="1" latinLnBrk="0" hangingPunct="1">
                <a:spcBef>
                  <a:spcPct val="20000"/>
                </a:spcBef>
                <a:buFont typeface="Arial"/>
                <a:buChar char="»"/>
                <a:defRPr sz="2000" kern="1200">
                  <a:solidFill>
                    <a:srgbClr val="001A58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nb-NO" sz="1400"/>
                <a:t>Prioritering av løsninger som er klar til bruk og gir reelle gevinster</a:t>
              </a:r>
            </a:p>
            <a:p>
              <a:r>
                <a:rPr lang="nb-NO" sz="1400"/>
                <a:t>Behov for leverandørdialog</a:t>
              </a:r>
            </a:p>
            <a:p>
              <a:r>
                <a:rPr lang="nb-NO" sz="1400"/>
                <a:t>Kompetanseprogram</a:t>
              </a:r>
            </a:p>
            <a:p>
              <a:endParaRPr lang="nb-NO" sz="1400"/>
            </a:p>
            <a:p>
              <a:endParaRPr lang="nb-NO" sz="1400"/>
            </a:p>
          </p:txBody>
        </p:sp>
      </p:grpSp>
      <p:grpSp>
        <p:nvGrpSpPr>
          <p:cNvPr id="18" name="Gruppe 17">
            <a:extLst>
              <a:ext uri="{FF2B5EF4-FFF2-40B4-BE49-F238E27FC236}">
                <a16:creationId xmlns:a16="http://schemas.microsoft.com/office/drawing/2014/main" id="{D210675F-0F91-8E1E-64DA-99C1E79C4102}"/>
              </a:ext>
            </a:extLst>
          </p:cNvPr>
          <p:cNvGrpSpPr/>
          <p:nvPr/>
        </p:nvGrpSpPr>
        <p:grpSpPr>
          <a:xfrm>
            <a:off x="8800493" y="342551"/>
            <a:ext cx="3391507" cy="5207927"/>
            <a:chOff x="8800493" y="1359588"/>
            <a:chExt cx="3391507" cy="5207927"/>
          </a:xfrm>
        </p:grpSpPr>
        <p:grpSp>
          <p:nvGrpSpPr>
            <p:cNvPr id="7" name="Gruppe 6">
              <a:extLst>
                <a:ext uri="{FF2B5EF4-FFF2-40B4-BE49-F238E27FC236}">
                  <a16:creationId xmlns:a16="http://schemas.microsoft.com/office/drawing/2014/main" id="{599247AA-BC84-57AB-401B-5E14508B1996}"/>
                </a:ext>
              </a:extLst>
            </p:cNvPr>
            <p:cNvGrpSpPr/>
            <p:nvPr/>
          </p:nvGrpSpPr>
          <p:grpSpPr>
            <a:xfrm>
              <a:off x="8800493" y="1359588"/>
              <a:ext cx="3241759" cy="1223700"/>
              <a:chOff x="8763890" y="0"/>
              <a:chExt cx="3241759" cy="1223700"/>
            </a:xfrm>
          </p:grpSpPr>
          <p:sp>
            <p:nvSpPr>
              <p:cNvPr id="8" name="Pil: vinkeltegn 7">
                <a:extLst>
                  <a:ext uri="{FF2B5EF4-FFF2-40B4-BE49-F238E27FC236}">
                    <a16:creationId xmlns:a16="http://schemas.microsoft.com/office/drawing/2014/main" id="{4DC0091C-54A6-6151-FAD2-19128C3647FA}"/>
                  </a:ext>
                </a:extLst>
              </p:cNvPr>
              <p:cNvSpPr/>
              <p:nvPr/>
            </p:nvSpPr>
            <p:spPr>
              <a:xfrm>
                <a:off x="8763890" y="0"/>
                <a:ext cx="3241759" cy="1223700"/>
              </a:xfrm>
              <a:prstGeom prst="chevron">
                <a:avLst/>
              </a:prstGeom>
              <a:solidFill>
                <a:schemeClr val="accent2">
                  <a:lumMod val="7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nb-NO"/>
              </a:p>
            </p:txBody>
          </p:sp>
          <p:sp>
            <p:nvSpPr>
              <p:cNvPr id="9" name="Pil: vinkeltegn 10">
                <a:extLst>
                  <a:ext uri="{FF2B5EF4-FFF2-40B4-BE49-F238E27FC236}">
                    <a16:creationId xmlns:a16="http://schemas.microsoft.com/office/drawing/2014/main" id="{A7326288-5CD5-495D-AFE5-2C1D33D9F403}"/>
                  </a:ext>
                </a:extLst>
              </p:cNvPr>
              <p:cNvSpPr txBox="1"/>
              <p:nvPr/>
            </p:nvSpPr>
            <p:spPr>
              <a:xfrm>
                <a:off x="9375740" y="0"/>
                <a:ext cx="2018059" cy="122370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76010" tIns="25337" rIns="25337" bIns="25337" numCol="1" spcCol="1270" anchor="ctr" anchorCtr="0">
                <a:noAutofit/>
              </a:bodyPr>
              <a:lstStyle/>
              <a:p>
                <a:pPr marL="0" lvl="0" indent="0" algn="ctr" defTabSz="8445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nb-NO" sz="1900" kern="1200"/>
                  <a:t>Forvaltning- og gevinstrealisering</a:t>
                </a:r>
              </a:p>
            </p:txBody>
          </p:sp>
        </p:grpSp>
        <p:pic>
          <p:nvPicPr>
            <p:cNvPr id="30" name="Bilde 29">
              <a:extLst>
                <a:ext uri="{FF2B5EF4-FFF2-40B4-BE49-F238E27FC236}">
                  <a16:creationId xmlns:a16="http://schemas.microsoft.com/office/drawing/2014/main" id="{60B7F7D0-4DBF-D904-BB0F-464C015F147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594990" y="2768278"/>
              <a:ext cx="1497339" cy="899878"/>
            </a:xfrm>
            <a:prstGeom prst="rect">
              <a:avLst/>
            </a:prstGeom>
          </p:spPr>
        </p:pic>
        <p:pic>
          <p:nvPicPr>
            <p:cNvPr id="31" name="Bilde 30">
              <a:extLst>
                <a:ext uri="{FF2B5EF4-FFF2-40B4-BE49-F238E27FC236}">
                  <a16:creationId xmlns:a16="http://schemas.microsoft.com/office/drawing/2014/main" id="{0F837429-5021-FA9B-0478-9EE8C2FEE44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647452" y="3767355"/>
              <a:ext cx="1444877" cy="304826"/>
            </a:xfrm>
            <a:prstGeom prst="rect">
              <a:avLst/>
            </a:prstGeom>
          </p:spPr>
        </p:pic>
        <p:sp>
          <p:nvSpPr>
            <p:cNvPr id="32" name="Plassholder for innhold 2">
              <a:extLst>
                <a:ext uri="{FF2B5EF4-FFF2-40B4-BE49-F238E27FC236}">
                  <a16:creationId xmlns:a16="http://schemas.microsoft.com/office/drawing/2014/main" id="{A8F47FA1-0E98-FEFB-49B0-AE16F2625007}"/>
                </a:ext>
              </a:extLst>
            </p:cNvPr>
            <p:cNvSpPr txBox="1">
              <a:spLocks/>
            </p:cNvSpPr>
            <p:nvPr/>
          </p:nvSpPr>
          <p:spPr>
            <a:xfrm>
              <a:off x="9319187" y="5528890"/>
              <a:ext cx="2872813" cy="1038625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lIns="91440" tIns="45720" rIns="91440" bIns="45720" rtlCol="0">
              <a:normAutofit fontScale="92500" lnSpcReduction="10000"/>
            </a:bodyPr>
            <a:lstStyle>
              <a:lvl1pPr marL="342900" indent="-3429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rgbClr val="001A58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000" kern="1200">
                  <a:solidFill>
                    <a:srgbClr val="001A58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rgbClr val="001A58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000" kern="1200">
                  <a:solidFill>
                    <a:srgbClr val="001A58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457200" rtl="0" eaLnBrk="1" latinLnBrk="0" hangingPunct="1">
                <a:spcBef>
                  <a:spcPct val="20000"/>
                </a:spcBef>
                <a:buFont typeface="Arial"/>
                <a:buChar char="»"/>
                <a:defRPr sz="2000" kern="1200">
                  <a:solidFill>
                    <a:srgbClr val="001A58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nb-NO" sz="1400"/>
                <a:t>Omforente modeller for forvaltning, inkl. </a:t>
              </a:r>
              <a:r>
                <a:rPr lang="nb-NO" sz="1400" err="1"/>
                <a:t>leverandøreroppfølging</a:t>
              </a:r>
              <a:endParaRPr lang="nb-NO" sz="1400"/>
            </a:p>
            <a:p>
              <a:r>
                <a:rPr lang="nb-NO" sz="1400"/>
                <a:t>Systematiske og felles tiltak på gevinstrealisering</a:t>
              </a:r>
            </a:p>
            <a:p>
              <a:endParaRPr lang="nb-NO" sz="1400"/>
            </a:p>
            <a:p>
              <a:endParaRPr lang="nb-NO" sz="1400"/>
            </a:p>
          </p:txBody>
        </p:sp>
      </p:grpSp>
      <p:sp>
        <p:nvSpPr>
          <p:cNvPr id="15" name="Rektangel 14">
            <a:extLst>
              <a:ext uri="{FF2B5EF4-FFF2-40B4-BE49-F238E27FC236}">
                <a16:creationId xmlns:a16="http://schemas.microsoft.com/office/drawing/2014/main" id="{301EEF93-6358-79DC-4D54-9E91BD3016CF}"/>
              </a:ext>
            </a:extLst>
          </p:cNvPr>
          <p:cNvSpPr/>
          <p:nvPr/>
        </p:nvSpPr>
        <p:spPr>
          <a:xfrm>
            <a:off x="0" y="4355604"/>
            <a:ext cx="12192000" cy="1485359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6" name="Rektangel: avrundede hjørner 15">
            <a:extLst>
              <a:ext uri="{FF2B5EF4-FFF2-40B4-BE49-F238E27FC236}">
                <a16:creationId xmlns:a16="http://schemas.microsoft.com/office/drawing/2014/main" id="{B34C597C-F945-BDFD-D7E2-70C93C0E4424}"/>
              </a:ext>
            </a:extLst>
          </p:cNvPr>
          <p:cNvSpPr/>
          <p:nvPr/>
        </p:nvSpPr>
        <p:spPr>
          <a:xfrm>
            <a:off x="3359020" y="4618358"/>
            <a:ext cx="3369287" cy="2125400"/>
          </a:xfrm>
          <a:prstGeom prst="roundRect">
            <a:avLst/>
          </a:prstGeom>
          <a:solidFill>
            <a:schemeClr val="accent6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/>
              <a:t>Pasientens prøvesvar – rekvir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/>
              <a:t>PLL /SF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/>
              <a:t>Digital helsekort for gravi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/>
              <a:t>Pasients måle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/>
              <a:t>Pasientens kritiske informasj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/>
              <a:t>Kommunale tjenes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/>
              <a:t>NEWS2</a:t>
            </a:r>
          </a:p>
          <a:p>
            <a:endParaRPr lang="nb-NO" sz="1600" dirty="0"/>
          </a:p>
        </p:txBody>
      </p:sp>
      <p:sp>
        <p:nvSpPr>
          <p:cNvPr id="23" name="Rektangel: avrundede hjørner 22">
            <a:extLst>
              <a:ext uri="{FF2B5EF4-FFF2-40B4-BE49-F238E27FC236}">
                <a16:creationId xmlns:a16="http://schemas.microsoft.com/office/drawing/2014/main" id="{FEAAC45D-AC1E-98EF-A248-C35FE24E65BC}"/>
              </a:ext>
            </a:extLst>
          </p:cNvPr>
          <p:cNvSpPr/>
          <p:nvPr/>
        </p:nvSpPr>
        <p:spPr>
          <a:xfrm>
            <a:off x="6796379" y="4615123"/>
            <a:ext cx="3003855" cy="2125400"/>
          </a:xfrm>
          <a:prstGeom prst="roundRect">
            <a:avLst/>
          </a:prstGeom>
          <a:solidFill>
            <a:schemeClr val="accent3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/>
              <a:t>Pasientens prøvesvar – konsu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/>
              <a:t>Pasientens journalnotater - HF</a:t>
            </a:r>
          </a:p>
          <a:p>
            <a:endParaRPr lang="nb-NO" sz="1600" dirty="0"/>
          </a:p>
        </p:txBody>
      </p:sp>
      <p:sp>
        <p:nvSpPr>
          <p:cNvPr id="27" name="Rektangel: avrundede hjørner 26">
            <a:extLst>
              <a:ext uri="{FF2B5EF4-FFF2-40B4-BE49-F238E27FC236}">
                <a16:creationId xmlns:a16="http://schemas.microsoft.com/office/drawing/2014/main" id="{6413E672-1CEF-3C01-ED04-A6439A7CF215}"/>
              </a:ext>
            </a:extLst>
          </p:cNvPr>
          <p:cNvSpPr/>
          <p:nvPr/>
        </p:nvSpPr>
        <p:spPr>
          <a:xfrm>
            <a:off x="231472" y="4618967"/>
            <a:ext cx="3059476" cy="2125400"/>
          </a:xfrm>
          <a:prstGeom prst="roundRect">
            <a:avLst/>
          </a:prstGeom>
          <a:solidFill>
            <a:srgbClr val="336699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/>
              <a:t>Pasientens journaldokumenter – kommune som kil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/>
              <a:t>EHDS</a:t>
            </a:r>
          </a:p>
        </p:txBody>
      </p:sp>
    </p:spTree>
    <p:extLst>
      <p:ext uri="{BB962C8B-B14F-4D97-AF65-F5344CB8AC3E}">
        <p14:creationId xmlns:p14="http://schemas.microsoft.com/office/powerpoint/2010/main" val="37839140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23" grpId="0" animBg="1"/>
      <p:bldP spid="27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 descr="Helsearbeider som skriver på tastaturet">
            <a:extLst>
              <a:ext uri="{FF2B5EF4-FFF2-40B4-BE49-F238E27FC236}">
                <a16:creationId xmlns:a16="http://schemas.microsoft.com/office/drawing/2014/main" id="{F44D9F9B-BAA4-C231-BA8A-05EB19D53D5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730"/>
          <a:stretch>
            <a:fillRect/>
          </a:stretch>
        </p:blipFill>
        <p:spPr>
          <a:xfrm>
            <a:off x="20" y="10"/>
            <a:ext cx="12191980" cy="6857990"/>
          </a:xfrm>
          <a:prstGeom prst="rect">
            <a:avLst/>
          </a:prstGeom>
          <a:noFill/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8B99EEB0-BA1E-4D6E-613F-E8C54ABC9A7E}"/>
              </a:ext>
            </a:extLst>
          </p:cNvPr>
          <p:cNvSpPr txBox="1"/>
          <p:nvPr/>
        </p:nvSpPr>
        <p:spPr>
          <a:xfrm>
            <a:off x="4544006" y="130628"/>
            <a:ext cx="719677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4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Elektronisk pasientjournaler</a:t>
            </a:r>
          </a:p>
        </p:txBody>
      </p:sp>
    </p:spTree>
    <p:extLst>
      <p:ext uri="{BB962C8B-B14F-4D97-AF65-F5344CB8AC3E}">
        <p14:creationId xmlns:p14="http://schemas.microsoft.com/office/powerpoint/2010/main" val="30702765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ISTID" val="4fe745ce-7404-46c4-b954-437c28235cd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S-profil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0A8732A1136EA459F5FC0BA8AFE432C" ma:contentTypeVersion="20" ma:contentTypeDescription="Opprett et nytt dokument." ma:contentTypeScope="" ma:versionID="aa74f2b9e709ee6e492933a46649025e">
  <xsd:schema xmlns:xsd="http://www.w3.org/2001/XMLSchema" xmlns:xs="http://www.w3.org/2001/XMLSchema" xmlns:p="http://schemas.microsoft.com/office/2006/metadata/properties" xmlns:ns1="http://schemas.microsoft.com/sharepoint/v3" xmlns:ns2="5118eddc-d087-4fa0-8426-576954858485" xmlns:ns3="80ad4e26-2548-4788-9a82-7691355dd6ae" targetNamespace="http://schemas.microsoft.com/office/2006/metadata/properties" ma:root="true" ma:fieldsID="fc08487c37e36e870237e8e9041d783a" ns1:_="" ns2:_="" ns3:_="">
    <xsd:import namespace="http://schemas.microsoft.com/sharepoint/v3"/>
    <xsd:import namespace="5118eddc-d087-4fa0-8426-576954858485"/>
    <xsd:import namespace="80ad4e26-2548-4788-9a82-7691355dd6a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1:_ip_UnifiedCompliancePolicyProperties" minOccurs="0"/>
                <xsd:element ref="ns1:_ip_UnifiedCompliancePolicyUIAc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5" nillable="true" ma:displayName="Egenskaper for samordnet samsvarspolicy" ma:hidden="true" ma:internalName="_ip_UnifiedCompliancePolicyProperties">
      <xsd:simpleType>
        <xsd:restriction base="dms:Note"/>
      </xsd:simpleType>
    </xsd:element>
    <xsd:element name="_ip_UnifiedCompliancePolicyUIAction" ma:index="26" nillable="true" ma:displayName="UI-handling for samordnet samsvarspolicy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118eddc-d087-4fa0-8426-57695485848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Bildemerkelapper" ma:readOnly="false" ma:fieldId="{5cf76f15-5ced-4ddc-b409-7134ff3c332f}" ma:taxonomyMulti="true" ma:sspId="a5af897e-8ee3-44e6-a379-8efb93aa5b2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7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ad4e26-2548-4788-9a82-7691355dd6ae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9552dee1-c45d-4c04-817e-e2bb0cf53650}" ma:internalName="TaxCatchAll" ma:showField="CatchAllData" ma:web="80ad4e26-2548-4788-9a82-7691355dd6a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lcf76f155ced4ddcb4097134ff3c332f xmlns="5118eddc-d087-4fa0-8426-576954858485">
      <Terms xmlns="http://schemas.microsoft.com/office/infopath/2007/PartnerControls"/>
    </lcf76f155ced4ddcb4097134ff3c332f>
    <_ip_UnifiedCompliancePolicyProperties xmlns="http://schemas.microsoft.com/sharepoint/v3" xsi:nil="true"/>
    <TaxCatchAll xmlns="80ad4e26-2548-4788-9a82-7691355dd6ae" xsi:nil="true"/>
  </documentManagement>
</p:properties>
</file>

<file path=customXml/itemProps1.xml><?xml version="1.0" encoding="utf-8"?>
<ds:datastoreItem xmlns:ds="http://schemas.openxmlformats.org/officeDocument/2006/customXml" ds:itemID="{C7915D60-458D-4CC9-825F-A7D881FB1F90}">
  <ds:schemaRefs>
    <ds:schemaRef ds:uri="5118eddc-d087-4fa0-8426-576954858485"/>
    <ds:schemaRef ds:uri="80ad4e26-2548-4788-9a82-7691355dd6a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7AB9C94C-C415-4E9E-8450-82F74F86257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7425203-9359-423D-B5D2-B33F617D73D0}">
  <ds:schemaRefs>
    <ds:schemaRef ds:uri="http://schemas.openxmlformats.org/package/2006/metadata/core-properties"/>
    <ds:schemaRef ds:uri="5118eddc-d087-4fa0-8426-576954858485"/>
    <ds:schemaRef ds:uri="http://schemas.microsoft.com/office/infopath/2007/PartnerControls"/>
    <ds:schemaRef ds:uri="http://schemas.microsoft.com/sharepoint/v3"/>
    <ds:schemaRef ds:uri="http://schemas.microsoft.com/office/2006/metadata/properties"/>
    <ds:schemaRef ds:uri="http://purl.org/dc/elements/1.1/"/>
    <ds:schemaRef ds:uri="http://www.w3.org/XML/1998/namespace"/>
    <ds:schemaRef ds:uri="http://schemas.microsoft.com/office/2006/documentManagement/types"/>
    <ds:schemaRef ds:uri="http://purl.org/dc/terms/"/>
    <ds:schemaRef ds:uri="80ad4e26-2548-4788-9a82-7691355dd6a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d7f2f1d-22b0-4b65-ac50-06820d127ee2}" enabled="1" method="Privileged" siteId="{e1ae18b6-de6f-4b87-a2fc-90d6217d954e}" removed="0"/>
  <clbl:label id="{defa4170-0d19-0005-0004-bc88714345d2}" enabled="1" method="Standard" siteId="{3e9debe2-d272-4598-9f1e-7dc6d4f97cb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5056</TotalTime>
  <Words>1764</Words>
  <Application>Microsoft Office PowerPoint</Application>
  <PresentationFormat>Widescreen</PresentationFormat>
  <Paragraphs>316</Paragraphs>
  <Slides>30</Slides>
  <Notes>11</Notes>
  <HiddenSlides>0</HiddenSlides>
  <MMClips>0</MMClips>
  <ScaleCrop>false</ScaleCrop>
  <HeadingPairs>
    <vt:vector size="8" baseType="variant">
      <vt:variant>
        <vt:lpstr>Brukte skrifter</vt:lpstr>
      </vt:variant>
      <vt:variant>
        <vt:i4>8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30</vt:i4>
      </vt:variant>
    </vt:vector>
  </HeadingPairs>
  <TitlesOfParts>
    <vt:vector size="40" baseType="lpstr">
      <vt:lpstr>Aptos</vt:lpstr>
      <vt:lpstr>Arial</vt:lpstr>
      <vt:lpstr>Basis Grotesque</vt:lpstr>
      <vt:lpstr>Calibri</vt:lpstr>
      <vt:lpstr>EYInterstate Light</vt:lpstr>
      <vt:lpstr>Montserrat</vt:lpstr>
      <vt:lpstr>Segoe UI</vt:lpstr>
      <vt:lpstr>SourceSansProRegular</vt:lpstr>
      <vt:lpstr>KS-profiltema</vt:lpstr>
      <vt:lpstr>think-cell Slide</vt:lpstr>
      <vt:lpstr>eHelse – hva skjer i kommunene?</vt:lpstr>
      <vt:lpstr>Store endringer i økonomi og demografi:</vt:lpstr>
      <vt:lpstr>PowerPoint-presentasjon</vt:lpstr>
      <vt:lpstr>PowerPoint-presentasjon</vt:lpstr>
      <vt:lpstr>Mye som pågår innen eHelse, på mange områder parallelt</vt:lpstr>
      <vt:lpstr>PowerPoint-presentasjon</vt:lpstr>
      <vt:lpstr>Prioriterte områder for digital samhandling 2026</vt:lpstr>
      <vt:lpstr>PowerPoint-presentasjon</vt:lpstr>
      <vt:lpstr>PowerPoint-presentasjon</vt:lpstr>
      <vt:lpstr>Viktig med samarbeid - Boen-erklæringen</vt:lpstr>
      <vt:lpstr>EPJ- anskaffelser Norge Rundt…  (per april 2026)</vt:lpstr>
      <vt:lpstr>Videreutvikling av modell for anskaffelser</vt:lpstr>
      <vt:lpstr>PowerPoint-presentasjon</vt:lpstr>
      <vt:lpstr>Nullpunktsmåling Vi lager felles løsning – Visualisering - Fra Rogaland til Nasjonalt!</vt:lpstr>
      <vt:lpstr>PowerPoint-presentasjon</vt:lpstr>
      <vt:lpstr>PowerPoint-presentasjon</vt:lpstr>
      <vt:lpstr>KS FoU 224004 - Gir helseteknologi forventede gevinster </vt:lpstr>
      <vt:lpstr>PowerPoint-presentasjon</vt:lpstr>
      <vt:lpstr>Kommunene trenger kapasitet og kompetanse for å kunne omstille og realisere gevinster, og det må stilles krav </vt:lpstr>
      <vt:lpstr>Mål</vt:lpstr>
      <vt:lpstr>Hva ser vi nærmere på sammen med kommunal sektor?  </vt:lpstr>
      <vt:lpstr>PowerPoint-presentasjon</vt:lpstr>
      <vt:lpstr>PowerPoint-presentasjon</vt:lpstr>
      <vt:lpstr>PowerPoint-presentasjon</vt:lpstr>
      <vt:lpstr>Fem bruksområder</vt:lpstr>
      <vt:lpstr>To bruksområder anbefales for skalering</vt:lpstr>
      <vt:lpstr>Hva slags støtte ønsker kommunene?</vt:lpstr>
      <vt:lpstr>Anbefalingene om å skalere i Norge: Kort sikt</vt:lpstr>
      <vt:lpstr>PowerPoint-presentasjon</vt:lpstr>
      <vt:lpstr>PowerPoint-presentasj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S - kommunesektorens organisasjon</dc:title>
  <dc:creator>Ståle Hevrøy</dc:creator>
  <cp:lastModifiedBy>Terje Wistner</cp:lastModifiedBy>
  <cp:revision>18</cp:revision>
  <cp:lastPrinted>2025-10-13T15:08:20Z</cp:lastPrinted>
  <dcterms:created xsi:type="dcterms:W3CDTF">2020-04-01T12:33:11Z</dcterms:created>
  <dcterms:modified xsi:type="dcterms:W3CDTF">2026-04-21T14:50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0A8732A1136EA459F5FC0BA8AFE432C</vt:lpwstr>
  </property>
  <property fmtid="{D5CDD505-2E9C-101B-9397-08002B2CF9AE}" pid="3" name="CloudStatistics_StoryID">
    <vt:lpwstr>e646e9ac-f07a-44ca-a071-b1563c2ffdbd</vt:lpwstr>
  </property>
  <property fmtid="{D5CDD505-2E9C-101B-9397-08002B2CF9AE}" pid="4" name="MediaServiceImageTags">
    <vt:lpwstr/>
  </property>
</Properties>
</file>